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822" r:id="rId1"/>
    <p:sldMasterId id="2147483892" r:id="rId2"/>
  </p:sldMasterIdLst>
  <p:notesMasterIdLst>
    <p:notesMasterId r:id="rId4"/>
  </p:notesMasterIdLst>
  <p:handoutMasterIdLst>
    <p:handoutMasterId r:id="rId5"/>
  </p:handoutMasterIdLst>
  <p:sldIdLst>
    <p:sldId id="767" r:id="rId3"/>
  </p:sldIdLst>
  <p:sldSz cx="12198350" cy="6858000"/>
  <p:notesSz cx="6794500" cy="9906000"/>
  <p:custDataLst>
    <p:tags r:id="rId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2" userDrawn="1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0" userDrawn="1">
          <p15:clr>
            <a:srgbClr val="A4A3A4"/>
          </p15:clr>
        </p15:guide>
        <p15:guide id="2" pos="214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8" name="Author" initials="A" lastIdx="0" clrIdx="7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2E2E38"/>
    <a:srgbClr val="C4C4CD"/>
    <a:srgbClr val="747480"/>
    <a:srgbClr val="FFE600"/>
    <a:srgbClr val="808080"/>
    <a:srgbClr val="000000"/>
    <a:srgbClr val="FF9A91"/>
    <a:srgbClr val="FF00FF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527225B-AE23-4F98-90A3-AF4B17F8064A}" v="2" dt="2023-09-18T14:25:46.44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4392" autoAdjust="0"/>
    <p:restoredTop sz="96215" autoAdjust="0"/>
  </p:normalViewPr>
  <p:slideViewPr>
    <p:cSldViewPr snapToObjects="1" showGuides="1">
      <p:cViewPr varScale="1">
        <p:scale>
          <a:sx n="101" d="100"/>
          <a:sy n="101" d="100"/>
        </p:scale>
        <p:origin x="138" y="312"/>
      </p:cViewPr>
      <p:guideLst>
        <p:guide pos="3842"/>
        <p:guide orient="horz" pos="2160"/>
      </p:guideLst>
    </p:cSldViewPr>
  </p:slideViewPr>
  <p:outlineViewPr>
    <p:cViewPr>
      <p:scale>
        <a:sx n="33" d="100"/>
        <a:sy n="33" d="100"/>
      </p:scale>
      <p:origin x="0" y="-7090"/>
    </p:cViewPr>
  </p:outlineViewPr>
  <p:notesTextViewPr>
    <p:cViewPr>
      <p:scale>
        <a:sx n="150" d="100"/>
        <a:sy n="15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Objects="1" showGuides="1">
      <p:cViewPr varScale="1">
        <p:scale>
          <a:sx n="82" d="100"/>
          <a:sy n="82" d="100"/>
        </p:scale>
        <p:origin x="3852" y="102"/>
      </p:cViewPr>
      <p:guideLst>
        <p:guide orient="horz" pos="3120"/>
        <p:guide pos="214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commentAuthors" Target="commentAuthors.xml"/><Relationship Id="rId12" Type="http://schemas.microsoft.com/office/2015/10/relationships/revisionInfo" Target="revisionInfo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11" Type="http://schemas.openxmlformats.org/officeDocument/2006/relationships/tableStyles" Target="tableStyles.xml"/><Relationship Id="rId5" Type="http://schemas.openxmlformats.org/officeDocument/2006/relationships/handoutMaster" Target="handoutMasters/handoutMaster1.xml"/><Relationship Id="rId10" Type="http://schemas.openxmlformats.org/officeDocument/2006/relationships/theme" Target="theme/theme1.xml"/><Relationship Id="rId4" Type="http://schemas.openxmlformats.org/officeDocument/2006/relationships/notesMaster" Target="notesMasters/notesMaster1.xml"/><Relationship Id="rId9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4283" cy="495300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/>
            </a:lvl1pPr>
          </a:lstStyle>
          <a:p>
            <a:endParaRPr lang="en-GB" dirty="0">
              <a:latin typeface="EYInterstate Light" panose="02000506000000020004" pitchFamily="2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8645" y="0"/>
            <a:ext cx="2944283" cy="495300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/>
            </a:lvl1pPr>
          </a:lstStyle>
          <a:p>
            <a:fld id="{75A85089-C692-4DEA-AC49-04CF34D4FE14}" type="datetimeFigureOut">
              <a:rPr lang="en-GB" smtClean="0">
                <a:latin typeface="EYInterstate Light" panose="02000506000000020004" pitchFamily="2" charset="0"/>
              </a:rPr>
              <a:pPr/>
              <a:t>19/09/2023</a:t>
            </a:fld>
            <a:endParaRPr lang="en-GB" dirty="0">
              <a:latin typeface="EYInterstate Light" panose="02000506000000020004" pitchFamily="2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08981"/>
            <a:ext cx="2944283" cy="495300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/>
            </a:lvl1pPr>
          </a:lstStyle>
          <a:p>
            <a:endParaRPr lang="en-GB" dirty="0">
              <a:latin typeface="EYInterstate Light" panose="02000506000000020004" pitchFamily="2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8645" y="9408981"/>
            <a:ext cx="2944283" cy="495300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/>
            </a:lvl1pPr>
          </a:lstStyle>
          <a:p>
            <a:fld id="{D3A5C721-4BB5-4DB6-AD65-4BA2A62B05B6}" type="slidenum">
              <a:rPr lang="en-GB" smtClean="0">
                <a:latin typeface="EYInterstate Light" panose="02000506000000020004" pitchFamily="2" charset="0"/>
              </a:rPr>
              <a:pPr/>
              <a:t>‹#›</a:t>
            </a:fld>
            <a:endParaRPr lang="en-GB" dirty="0">
              <a:latin typeface="EYInterstate Light" panose="0200050600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163239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4283" cy="495300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>
                <a:latin typeface="EYInterstate Light" panose="02000506000000020004" pitchFamily="2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8645" y="0"/>
            <a:ext cx="2944283" cy="495300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>
                <a:latin typeface="EYInterstate Light" panose="02000506000000020004" pitchFamily="2" charset="0"/>
              </a:defRPr>
            </a:lvl1pPr>
          </a:lstStyle>
          <a:p>
            <a:fld id="{8045EBA9-A28D-4849-BFEA-AA04F6A21B63}" type="datetimeFigureOut">
              <a:rPr lang="en-GB" smtClean="0"/>
              <a:pPr/>
              <a:t>19/09/2023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3663" y="742950"/>
            <a:ext cx="6607175" cy="3714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92" tIns="46246" rIns="92492" bIns="46246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05351"/>
            <a:ext cx="5435600" cy="4457700"/>
          </a:xfrm>
          <a:prstGeom prst="rect">
            <a:avLst/>
          </a:prstGeom>
        </p:spPr>
        <p:txBody>
          <a:bodyPr vert="horz" lIns="92492" tIns="46246" rIns="92492" bIns="46246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08981"/>
            <a:ext cx="2944283" cy="495300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>
                <a:latin typeface="EYInterstate Light" panose="02000506000000020004" pitchFamily="2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8645" y="9408981"/>
            <a:ext cx="2944283" cy="495300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>
                <a:latin typeface="EYInterstate Light" panose="02000506000000020004" pitchFamily="2" charset="0"/>
              </a:defRPr>
            </a:lvl1pPr>
          </a:lstStyle>
          <a:p>
            <a:fld id="{5B43D19E-BFDB-4C92-8EDD-32EDDA8F41D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062703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EYInterstate Light" panose="02000506000000020004" pitchFamily="2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EYInterstate Light" panose="02000506000000020004" pitchFamily="2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EYInterstate Light" panose="02000506000000020004" pitchFamily="2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EYInterstate Light" panose="02000506000000020004" pitchFamily="2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EYInterstate Light" panose="02000506000000020004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173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201732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DA170AD9-E6E7-4F1A-B5C9-885B4AD2C36B}" type="slidenum">
              <a:rPr lang="en-GB" altLang="en-US">
                <a:solidFill>
                  <a:prstClr val="black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en-GB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99652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hyperlink" Target="http://brandingzone.ey.net/national/bzcontest.nsf/controldocview/BetterQuestions/$file/fullpage.html#firstPage" TargetMode="External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hyperlink" Target="http://brandingzone.ey.net/national/bzcontest.nsf/controldocview/BetterQuestions/$file/fullpage.html#firstPage" TargetMode="Externa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hyperlink" Target="http://brandingzone.ey.net/national/bzcontest.nsf/controldocview/BetterQuestions/$file/fullpage.html#firstPage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hyperlink" Target="http://brandingzone.ey.net/national/bzcontest.nsf/controldocview/BetterQuestions/$file/fullpage.html#firstPage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hyperlink" Target="http://brandingzone.ey.net/national/bzcontest.nsf/controldocview/BetterQuestions/$file/fullpage.html#firstPage" TargetMode="Externa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hyperlink" Target="http://brandingzone.ey.net/national/bzcontest.nsf/controldocview/BetterQuestions/$file/fullpage.html#firstPage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622940" y="795662"/>
            <a:ext cx="4930412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900329" y="1954221"/>
            <a:ext cx="4328932" cy="979702"/>
          </a:xfrm>
        </p:spPr>
        <p:txBody>
          <a:bodyPr/>
          <a:lstStyle>
            <a:lvl1pPr>
              <a:defRPr sz="3000" b="0">
                <a:solidFill>
                  <a:schemeClr val="tx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00329" y="3046158"/>
            <a:ext cx="4328932" cy="104632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Aft>
                <a:spcPts val="1200"/>
              </a:spcAft>
              <a:buNone/>
              <a:defRPr sz="2000">
                <a:solidFill>
                  <a:schemeClr val="tx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 b="1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8422AE9-8257-41A9-AB41-1F10585C886F}"/>
              </a:ext>
            </a:extLst>
          </p:cNvPr>
          <p:cNvGrpSpPr>
            <a:grpSpLocks noChangeAspect="1"/>
          </p:cNvGrpSpPr>
          <p:nvPr userDrawn="1"/>
        </p:nvGrpSpPr>
        <p:grpSpPr bwMode="invGray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D19659BD-653C-4300-9060-420AFAE39587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A4669336-72A1-4233-827A-C41AB4C1CC04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</p:grpSp>
      <p:grpSp>
        <p:nvGrpSpPr>
          <p:cNvPr id="8" name="Gruppieren 7"/>
          <p:cNvGrpSpPr/>
          <p:nvPr userDrawn="1"/>
        </p:nvGrpSpPr>
        <p:grpSpPr bwMode="invGray">
          <a:xfrm>
            <a:off x="9713775" y="440057"/>
            <a:ext cx="1868402" cy="962657"/>
            <a:chOff x="9731769" y="638177"/>
            <a:chExt cx="2017456" cy="1039454"/>
          </a:xfrm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8A9BDB58-231B-4B70-8059-20CAA94E9F64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9731769" y="1406980"/>
              <a:ext cx="19613" cy="91524"/>
            </a:xfrm>
            <a:custGeom>
              <a:avLst/>
              <a:gdLst>
                <a:gd name="T0" fmla="*/ 29 w 29"/>
                <a:gd name="T1" fmla="*/ 14 h 134"/>
                <a:gd name="T2" fmla="*/ 28 w 29"/>
                <a:gd name="T3" fmla="*/ 20 h 134"/>
                <a:gd name="T4" fmla="*/ 25 w 29"/>
                <a:gd name="T5" fmla="*/ 25 h 134"/>
                <a:gd name="T6" fmla="*/ 20 w 29"/>
                <a:gd name="T7" fmla="*/ 28 h 134"/>
                <a:gd name="T8" fmla="*/ 15 w 29"/>
                <a:gd name="T9" fmla="*/ 29 h 134"/>
                <a:gd name="T10" fmla="*/ 9 w 29"/>
                <a:gd name="T11" fmla="*/ 28 h 134"/>
                <a:gd name="T12" fmla="*/ 5 w 29"/>
                <a:gd name="T13" fmla="*/ 25 h 134"/>
                <a:gd name="T14" fmla="*/ 1 w 29"/>
                <a:gd name="T15" fmla="*/ 20 h 134"/>
                <a:gd name="T16" fmla="*/ 0 w 29"/>
                <a:gd name="T17" fmla="*/ 14 h 134"/>
                <a:gd name="T18" fmla="*/ 1 w 29"/>
                <a:gd name="T19" fmla="*/ 9 h 134"/>
                <a:gd name="T20" fmla="*/ 5 w 29"/>
                <a:gd name="T21" fmla="*/ 4 h 134"/>
                <a:gd name="T22" fmla="*/ 9 w 29"/>
                <a:gd name="T23" fmla="*/ 1 h 134"/>
                <a:gd name="T24" fmla="*/ 15 w 29"/>
                <a:gd name="T25" fmla="*/ 0 h 134"/>
                <a:gd name="T26" fmla="*/ 20 w 29"/>
                <a:gd name="T27" fmla="*/ 1 h 134"/>
                <a:gd name="T28" fmla="*/ 25 w 29"/>
                <a:gd name="T29" fmla="*/ 4 h 134"/>
                <a:gd name="T30" fmla="*/ 28 w 29"/>
                <a:gd name="T31" fmla="*/ 9 h 134"/>
                <a:gd name="T32" fmla="*/ 29 w 29"/>
                <a:gd name="T33" fmla="*/ 14 h 134"/>
                <a:gd name="T34" fmla="*/ 2 w 29"/>
                <a:gd name="T35" fmla="*/ 134 h 134"/>
                <a:gd name="T36" fmla="*/ 2 w 29"/>
                <a:gd name="T37" fmla="*/ 37 h 134"/>
                <a:gd name="T38" fmla="*/ 28 w 29"/>
                <a:gd name="T39" fmla="*/ 37 h 134"/>
                <a:gd name="T40" fmla="*/ 28 w 29"/>
                <a:gd name="T41" fmla="*/ 134 h 134"/>
                <a:gd name="T42" fmla="*/ 2 w 29"/>
                <a:gd name="T43" fmla="*/ 134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9" h="134">
                  <a:moveTo>
                    <a:pt x="29" y="14"/>
                  </a:moveTo>
                  <a:cubicBezTo>
                    <a:pt x="29" y="16"/>
                    <a:pt x="29" y="18"/>
                    <a:pt x="28" y="20"/>
                  </a:cubicBezTo>
                  <a:cubicBezTo>
                    <a:pt x="28" y="22"/>
                    <a:pt x="26" y="23"/>
                    <a:pt x="25" y="25"/>
                  </a:cubicBezTo>
                  <a:cubicBezTo>
                    <a:pt x="24" y="26"/>
                    <a:pt x="22" y="27"/>
                    <a:pt x="20" y="28"/>
                  </a:cubicBezTo>
                  <a:cubicBezTo>
                    <a:pt x="19" y="29"/>
                    <a:pt x="17" y="29"/>
                    <a:pt x="15" y="29"/>
                  </a:cubicBezTo>
                  <a:cubicBezTo>
                    <a:pt x="13" y="29"/>
                    <a:pt x="11" y="29"/>
                    <a:pt x="9" y="28"/>
                  </a:cubicBezTo>
                  <a:cubicBezTo>
                    <a:pt x="7" y="27"/>
                    <a:pt x="6" y="26"/>
                    <a:pt x="5" y="25"/>
                  </a:cubicBezTo>
                  <a:cubicBezTo>
                    <a:pt x="3" y="23"/>
                    <a:pt x="2" y="22"/>
                    <a:pt x="1" y="20"/>
                  </a:cubicBezTo>
                  <a:cubicBezTo>
                    <a:pt x="1" y="18"/>
                    <a:pt x="0" y="16"/>
                    <a:pt x="0" y="14"/>
                  </a:cubicBezTo>
                  <a:cubicBezTo>
                    <a:pt x="0" y="12"/>
                    <a:pt x="1" y="11"/>
                    <a:pt x="1" y="9"/>
                  </a:cubicBezTo>
                  <a:cubicBezTo>
                    <a:pt x="2" y="7"/>
                    <a:pt x="3" y="5"/>
                    <a:pt x="5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2" y="2"/>
                    <a:pt x="24" y="3"/>
                    <a:pt x="25" y="4"/>
                  </a:cubicBezTo>
                  <a:cubicBezTo>
                    <a:pt x="26" y="5"/>
                    <a:pt x="28" y="7"/>
                    <a:pt x="28" y="9"/>
                  </a:cubicBezTo>
                  <a:cubicBezTo>
                    <a:pt x="29" y="11"/>
                    <a:pt x="29" y="12"/>
                    <a:pt x="29" y="14"/>
                  </a:cubicBezTo>
                  <a:close/>
                  <a:moveTo>
                    <a:pt x="2" y="134"/>
                  </a:moveTo>
                  <a:cubicBezTo>
                    <a:pt x="2" y="37"/>
                    <a:pt x="2" y="37"/>
                    <a:pt x="2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134"/>
                    <a:pt x="28" y="134"/>
                    <a:pt x="28" y="134"/>
                  </a:cubicBezTo>
                  <a:lnTo>
                    <a:pt x="2" y="1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97DAE07B-DE87-4358-BA44-6531EF3573CD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9767071" y="1430515"/>
              <a:ext cx="58837" cy="67989"/>
            </a:xfrm>
            <a:custGeom>
              <a:avLst/>
              <a:gdLst>
                <a:gd name="T0" fmla="*/ 59 w 85"/>
                <a:gd name="T1" fmla="*/ 99 h 99"/>
                <a:gd name="T2" fmla="*/ 59 w 85"/>
                <a:gd name="T3" fmla="*/ 47 h 99"/>
                <a:gd name="T4" fmla="*/ 55 w 85"/>
                <a:gd name="T5" fmla="*/ 30 h 99"/>
                <a:gd name="T6" fmla="*/ 43 w 85"/>
                <a:gd name="T7" fmla="*/ 24 h 99"/>
                <a:gd name="T8" fmla="*/ 35 w 85"/>
                <a:gd name="T9" fmla="*/ 25 h 99"/>
                <a:gd name="T10" fmla="*/ 30 w 85"/>
                <a:gd name="T11" fmla="*/ 29 h 99"/>
                <a:gd name="T12" fmla="*/ 27 w 85"/>
                <a:gd name="T13" fmla="*/ 35 h 99"/>
                <a:gd name="T14" fmla="*/ 26 w 85"/>
                <a:gd name="T15" fmla="*/ 46 h 99"/>
                <a:gd name="T16" fmla="*/ 26 w 85"/>
                <a:gd name="T17" fmla="*/ 99 h 99"/>
                <a:gd name="T18" fmla="*/ 0 w 85"/>
                <a:gd name="T19" fmla="*/ 99 h 99"/>
                <a:gd name="T20" fmla="*/ 0 w 85"/>
                <a:gd name="T21" fmla="*/ 2 h 99"/>
                <a:gd name="T22" fmla="*/ 26 w 85"/>
                <a:gd name="T23" fmla="*/ 2 h 99"/>
                <a:gd name="T24" fmla="*/ 26 w 85"/>
                <a:gd name="T25" fmla="*/ 8 h 99"/>
                <a:gd name="T26" fmla="*/ 30 w 85"/>
                <a:gd name="T27" fmla="*/ 5 h 99"/>
                <a:gd name="T28" fmla="*/ 35 w 85"/>
                <a:gd name="T29" fmla="*/ 2 h 99"/>
                <a:gd name="T30" fmla="*/ 42 w 85"/>
                <a:gd name="T31" fmla="*/ 1 h 99"/>
                <a:gd name="T32" fmla="*/ 49 w 85"/>
                <a:gd name="T33" fmla="*/ 0 h 99"/>
                <a:gd name="T34" fmla="*/ 65 w 85"/>
                <a:gd name="T35" fmla="*/ 3 h 99"/>
                <a:gd name="T36" fmla="*/ 76 w 85"/>
                <a:gd name="T37" fmla="*/ 12 h 99"/>
                <a:gd name="T38" fmla="*/ 82 w 85"/>
                <a:gd name="T39" fmla="*/ 26 h 99"/>
                <a:gd name="T40" fmla="*/ 85 w 85"/>
                <a:gd name="T41" fmla="*/ 44 h 99"/>
                <a:gd name="T42" fmla="*/ 85 w 85"/>
                <a:gd name="T43" fmla="*/ 99 h 99"/>
                <a:gd name="T44" fmla="*/ 59 w 85"/>
                <a:gd name="T45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5" h="99">
                  <a:moveTo>
                    <a:pt x="59" y="99"/>
                  </a:moveTo>
                  <a:cubicBezTo>
                    <a:pt x="59" y="47"/>
                    <a:pt x="59" y="47"/>
                    <a:pt x="59" y="47"/>
                  </a:cubicBezTo>
                  <a:cubicBezTo>
                    <a:pt x="59" y="39"/>
                    <a:pt x="58" y="33"/>
                    <a:pt x="55" y="30"/>
                  </a:cubicBezTo>
                  <a:cubicBezTo>
                    <a:pt x="53" y="26"/>
                    <a:pt x="49" y="24"/>
                    <a:pt x="43" y="24"/>
                  </a:cubicBezTo>
                  <a:cubicBezTo>
                    <a:pt x="40" y="24"/>
                    <a:pt x="38" y="24"/>
                    <a:pt x="35" y="25"/>
                  </a:cubicBezTo>
                  <a:cubicBezTo>
                    <a:pt x="33" y="26"/>
                    <a:pt x="32" y="27"/>
                    <a:pt x="30" y="29"/>
                  </a:cubicBezTo>
                  <a:cubicBezTo>
                    <a:pt x="29" y="30"/>
                    <a:pt x="28" y="33"/>
                    <a:pt x="27" y="35"/>
                  </a:cubicBezTo>
                  <a:cubicBezTo>
                    <a:pt x="26" y="38"/>
                    <a:pt x="26" y="42"/>
                    <a:pt x="26" y="46"/>
                  </a:cubicBezTo>
                  <a:cubicBezTo>
                    <a:pt x="26" y="99"/>
                    <a:pt x="26" y="99"/>
                    <a:pt x="26" y="99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7" y="7"/>
                    <a:pt x="28" y="6"/>
                    <a:pt x="30" y="5"/>
                  </a:cubicBezTo>
                  <a:cubicBezTo>
                    <a:pt x="31" y="4"/>
                    <a:pt x="33" y="3"/>
                    <a:pt x="35" y="2"/>
                  </a:cubicBezTo>
                  <a:cubicBezTo>
                    <a:pt x="37" y="2"/>
                    <a:pt x="39" y="1"/>
                    <a:pt x="42" y="1"/>
                  </a:cubicBezTo>
                  <a:cubicBezTo>
                    <a:pt x="44" y="0"/>
                    <a:pt x="46" y="0"/>
                    <a:pt x="49" y="0"/>
                  </a:cubicBezTo>
                  <a:cubicBezTo>
                    <a:pt x="55" y="0"/>
                    <a:pt x="60" y="1"/>
                    <a:pt x="65" y="3"/>
                  </a:cubicBezTo>
                  <a:cubicBezTo>
                    <a:pt x="69" y="5"/>
                    <a:pt x="73" y="8"/>
                    <a:pt x="76" y="12"/>
                  </a:cubicBezTo>
                  <a:cubicBezTo>
                    <a:pt x="79" y="16"/>
                    <a:pt x="81" y="20"/>
                    <a:pt x="82" y="26"/>
                  </a:cubicBezTo>
                  <a:cubicBezTo>
                    <a:pt x="84" y="31"/>
                    <a:pt x="85" y="38"/>
                    <a:pt x="85" y="44"/>
                  </a:cubicBezTo>
                  <a:cubicBezTo>
                    <a:pt x="85" y="99"/>
                    <a:pt x="85" y="99"/>
                    <a:pt x="85" y="99"/>
                  </a:cubicBezTo>
                  <a:lnTo>
                    <a:pt x="59" y="9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id="{39829C97-B9FD-4508-8651-C460629865A1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9880823" y="1410902"/>
              <a:ext cx="71912" cy="87602"/>
            </a:xfrm>
            <a:custGeom>
              <a:avLst/>
              <a:gdLst>
                <a:gd name="T0" fmla="*/ 105 w 105"/>
                <a:gd name="T1" fmla="*/ 64 h 129"/>
                <a:gd name="T2" fmla="*/ 103 w 105"/>
                <a:gd name="T3" fmla="*/ 85 h 129"/>
                <a:gd name="T4" fmla="*/ 96 w 105"/>
                <a:gd name="T5" fmla="*/ 101 h 129"/>
                <a:gd name="T6" fmla="*/ 85 w 105"/>
                <a:gd name="T7" fmla="*/ 114 h 129"/>
                <a:gd name="T8" fmla="*/ 71 w 105"/>
                <a:gd name="T9" fmla="*/ 122 h 129"/>
                <a:gd name="T10" fmla="*/ 55 w 105"/>
                <a:gd name="T11" fmla="*/ 128 h 129"/>
                <a:gd name="T12" fmla="*/ 39 w 105"/>
                <a:gd name="T13" fmla="*/ 129 h 129"/>
                <a:gd name="T14" fmla="*/ 0 w 105"/>
                <a:gd name="T15" fmla="*/ 129 h 129"/>
                <a:gd name="T16" fmla="*/ 0 w 105"/>
                <a:gd name="T17" fmla="*/ 0 h 129"/>
                <a:gd name="T18" fmla="*/ 41 w 105"/>
                <a:gd name="T19" fmla="*/ 0 h 129"/>
                <a:gd name="T20" fmla="*/ 67 w 105"/>
                <a:gd name="T21" fmla="*/ 3 h 129"/>
                <a:gd name="T22" fmla="*/ 87 w 105"/>
                <a:gd name="T23" fmla="*/ 14 h 129"/>
                <a:gd name="T24" fmla="*/ 100 w 105"/>
                <a:gd name="T25" fmla="*/ 34 h 129"/>
                <a:gd name="T26" fmla="*/ 105 w 105"/>
                <a:gd name="T27" fmla="*/ 64 h 129"/>
                <a:gd name="T28" fmla="*/ 79 w 105"/>
                <a:gd name="T29" fmla="*/ 64 h 129"/>
                <a:gd name="T30" fmla="*/ 76 w 105"/>
                <a:gd name="T31" fmla="*/ 47 h 129"/>
                <a:gd name="T32" fmla="*/ 70 w 105"/>
                <a:gd name="T33" fmla="*/ 35 h 129"/>
                <a:gd name="T34" fmla="*/ 58 w 105"/>
                <a:gd name="T35" fmla="*/ 27 h 129"/>
                <a:gd name="T36" fmla="*/ 40 w 105"/>
                <a:gd name="T37" fmla="*/ 25 h 129"/>
                <a:gd name="T38" fmla="*/ 26 w 105"/>
                <a:gd name="T39" fmla="*/ 25 h 129"/>
                <a:gd name="T40" fmla="*/ 26 w 105"/>
                <a:gd name="T41" fmla="*/ 104 h 129"/>
                <a:gd name="T42" fmla="*/ 39 w 105"/>
                <a:gd name="T43" fmla="*/ 104 h 129"/>
                <a:gd name="T44" fmla="*/ 57 w 105"/>
                <a:gd name="T45" fmla="*/ 101 h 129"/>
                <a:gd name="T46" fmla="*/ 69 w 105"/>
                <a:gd name="T47" fmla="*/ 93 h 129"/>
                <a:gd name="T48" fmla="*/ 76 w 105"/>
                <a:gd name="T49" fmla="*/ 81 h 129"/>
                <a:gd name="T50" fmla="*/ 79 w 105"/>
                <a:gd name="T51" fmla="*/ 64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5" h="129">
                  <a:moveTo>
                    <a:pt x="105" y="64"/>
                  </a:moveTo>
                  <a:cubicBezTo>
                    <a:pt x="105" y="72"/>
                    <a:pt x="104" y="79"/>
                    <a:pt x="103" y="85"/>
                  </a:cubicBezTo>
                  <a:cubicBezTo>
                    <a:pt x="101" y="91"/>
                    <a:pt x="99" y="97"/>
                    <a:pt x="96" y="101"/>
                  </a:cubicBezTo>
                  <a:cubicBezTo>
                    <a:pt x="92" y="106"/>
                    <a:pt x="89" y="110"/>
                    <a:pt x="85" y="114"/>
                  </a:cubicBezTo>
                  <a:cubicBezTo>
                    <a:pt x="80" y="117"/>
                    <a:pt x="76" y="120"/>
                    <a:pt x="71" y="122"/>
                  </a:cubicBezTo>
                  <a:cubicBezTo>
                    <a:pt x="66" y="125"/>
                    <a:pt x="61" y="126"/>
                    <a:pt x="55" y="128"/>
                  </a:cubicBezTo>
                  <a:cubicBezTo>
                    <a:pt x="50" y="129"/>
                    <a:pt x="44" y="129"/>
                    <a:pt x="39" y="129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50" y="0"/>
                    <a:pt x="59" y="1"/>
                    <a:pt x="67" y="3"/>
                  </a:cubicBezTo>
                  <a:cubicBezTo>
                    <a:pt x="74" y="5"/>
                    <a:pt x="81" y="9"/>
                    <a:pt x="87" y="14"/>
                  </a:cubicBezTo>
                  <a:cubicBezTo>
                    <a:pt x="93" y="19"/>
                    <a:pt x="97" y="26"/>
                    <a:pt x="100" y="34"/>
                  </a:cubicBezTo>
                  <a:cubicBezTo>
                    <a:pt x="104" y="43"/>
                    <a:pt x="105" y="53"/>
                    <a:pt x="105" y="64"/>
                  </a:cubicBezTo>
                  <a:close/>
                  <a:moveTo>
                    <a:pt x="79" y="64"/>
                  </a:moveTo>
                  <a:cubicBezTo>
                    <a:pt x="79" y="58"/>
                    <a:pt x="78" y="52"/>
                    <a:pt x="76" y="47"/>
                  </a:cubicBezTo>
                  <a:cubicBezTo>
                    <a:pt x="75" y="42"/>
                    <a:pt x="73" y="38"/>
                    <a:pt x="70" y="35"/>
                  </a:cubicBezTo>
                  <a:cubicBezTo>
                    <a:pt x="66" y="31"/>
                    <a:pt x="62" y="29"/>
                    <a:pt x="58" y="27"/>
                  </a:cubicBezTo>
                  <a:cubicBezTo>
                    <a:pt x="53" y="26"/>
                    <a:pt x="47" y="25"/>
                    <a:pt x="40" y="25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6" y="104"/>
                    <a:pt x="26" y="104"/>
                    <a:pt x="26" y="104"/>
                  </a:cubicBezTo>
                  <a:cubicBezTo>
                    <a:pt x="39" y="104"/>
                    <a:pt x="39" y="104"/>
                    <a:pt x="39" y="104"/>
                  </a:cubicBezTo>
                  <a:cubicBezTo>
                    <a:pt x="46" y="104"/>
                    <a:pt x="52" y="103"/>
                    <a:pt x="57" y="101"/>
                  </a:cubicBezTo>
                  <a:cubicBezTo>
                    <a:pt x="62" y="99"/>
                    <a:pt x="66" y="97"/>
                    <a:pt x="69" y="93"/>
                  </a:cubicBezTo>
                  <a:cubicBezTo>
                    <a:pt x="72" y="90"/>
                    <a:pt x="75" y="85"/>
                    <a:pt x="76" y="81"/>
                  </a:cubicBezTo>
                  <a:cubicBezTo>
                    <a:pt x="78" y="76"/>
                    <a:pt x="79" y="70"/>
                    <a:pt x="79" y="6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8">
              <a:extLst>
                <a:ext uri="{FF2B5EF4-FFF2-40B4-BE49-F238E27FC236}">
                  <a16:creationId xmlns:a16="http://schemas.microsoft.com/office/drawing/2014/main" id="{E6E8D961-2633-4DD4-9603-DC987B33CBF8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9964502" y="1430515"/>
              <a:ext cx="56222" cy="69297"/>
            </a:xfrm>
            <a:custGeom>
              <a:avLst/>
              <a:gdLst>
                <a:gd name="T0" fmla="*/ 84 w 84"/>
                <a:gd name="T1" fmla="*/ 51 h 101"/>
                <a:gd name="T2" fmla="*/ 84 w 84"/>
                <a:gd name="T3" fmla="*/ 55 h 101"/>
                <a:gd name="T4" fmla="*/ 84 w 84"/>
                <a:gd name="T5" fmla="*/ 59 h 101"/>
                <a:gd name="T6" fmla="*/ 26 w 84"/>
                <a:gd name="T7" fmla="*/ 59 h 101"/>
                <a:gd name="T8" fmla="*/ 28 w 84"/>
                <a:gd name="T9" fmla="*/ 67 h 101"/>
                <a:gd name="T10" fmla="*/ 32 w 84"/>
                <a:gd name="T11" fmla="*/ 73 h 101"/>
                <a:gd name="T12" fmla="*/ 39 w 84"/>
                <a:gd name="T13" fmla="*/ 76 h 101"/>
                <a:gd name="T14" fmla="*/ 46 w 84"/>
                <a:gd name="T15" fmla="*/ 77 h 101"/>
                <a:gd name="T16" fmla="*/ 50 w 84"/>
                <a:gd name="T17" fmla="*/ 77 h 101"/>
                <a:gd name="T18" fmla="*/ 55 w 84"/>
                <a:gd name="T19" fmla="*/ 75 h 101"/>
                <a:gd name="T20" fmla="*/ 59 w 84"/>
                <a:gd name="T21" fmla="*/ 73 h 101"/>
                <a:gd name="T22" fmla="*/ 62 w 84"/>
                <a:gd name="T23" fmla="*/ 70 h 101"/>
                <a:gd name="T24" fmla="*/ 80 w 84"/>
                <a:gd name="T25" fmla="*/ 85 h 101"/>
                <a:gd name="T26" fmla="*/ 74 w 84"/>
                <a:gd name="T27" fmla="*/ 92 h 101"/>
                <a:gd name="T28" fmla="*/ 65 w 84"/>
                <a:gd name="T29" fmla="*/ 97 h 101"/>
                <a:gd name="T30" fmla="*/ 55 w 84"/>
                <a:gd name="T31" fmla="*/ 100 h 101"/>
                <a:gd name="T32" fmla="*/ 46 w 84"/>
                <a:gd name="T33" fmla="*/ 101 h 101"/>
                <a:gd name="T34" fmla="*/ 31 w 84"/>
                <a:gd name="T35" fmla="*/ 99 h 101"/>
                <a:gd name="T36" fmla="*/ 20 w 84"/>
                <a:gd name="T37" fmla="*/ 94 h 101"/>
                <a:gd name="T38" fmla="*/ 12 w 84"/>
                <a:gd name="T39" fmla="*/ 87 h 101"/>
                <a:gd name="T40" fmla="*/ 5 w 84"/>
                <a:gd name="T41" fmla="*/ 77 h 101"/>
                <a:gd name="T42" fmla="*/ 1 w 84"/>
                <a:gd name="T43" fmla="*/ 65 h 101"/>
                <a:gd name="T44" fmla="*/ 0 w 84"/>
                <a:gd name="T45" fmla="*/ 51 h 101"/>
                <a:gd name="T46" fmla="*/ 3 w 84"/>
                <a:gd name="T47" fmla="*/ 30 h 101"/>
                <a:gd name="T48" fmla="*/ 12 w 84"/>
                <a:gd name="T49" fmla="*/ 14 h 101"/>
                <a:gd name="T50" fmla="*/ 26 w 84"/>
                <a:gd name="T51" fmla="*/ 4 h 101"/>
                <a:gd name="T52" fmla="*/ 43 w 84"/>
                <a:gd name="T53" fmla="*/ 0 h 101"/>
                <a:gd name="T54" fmla="*/ 61 w 84"/>
                <a:gd name="T55" fmla="*/ 4 h 101"/>
                <a:gd name="T56" fmla="*/ 73 w 84"/>
                <a:gd name="T57" fmla="*/ 15 h 101"/>
                <a:gd name="T58" fmla="*/ 81 w 84"/>
                <a:gd name="T59" fmla="*/ 31 h 101"/>
                <a:gd name="T60" fmla="*/ 84 w 84"/>
                <a:gd name="T61" fmla="*/ 51 h 101"/>
                <a:gd name="T62" fmla="*/ 59 w 84"/>
                <a:gd name="T63" fmla="*/ 40 h 101"/>
                <a:gd name="T64" fmla="*/ 58 w 84"/>
                <a:gd name="T65" fmla="*/ 33 h 101"/>
                <a:gd name="T66" fmla="*/ 55 w 84"/>
                <a:gd name="T67" fmla="*/ 28 h 101"/>
                <a:gd name="T68" fmla="*/ 49 w 84"/>
                <a:gd name="T69" fmla="*/ 24 h 101"/>
                <a:gd name="T70" fmla="*/ 42 w 84"/>
                <a:gd name="T71" fmla="*/ 22 h 101"/>
                <a:gd name="T72" fmla="*/ 36 w 84"/>
                <a:gd name="T73" fmla="*/ 24 h 101"/>
                <a:gd name="T74" fmla="*/ 31 w 84"/>
                <a:gd name="T75" fmla="*/ 27 h 101"/>
                <a:gd name="T76" fmla="*/ 28 w 84"/>
                <a:gd name="T77" fmla="*/ 33 h 101"/>
                <a:gd name="T78" fmla="*/ 26 w 84"/>
                <a:gd name="T79" fmla="*/ 40 h 101"/>
                <a:gd name="T80" fmla="*/ 59 w 84"/>
                <a:gd name="T81" fmla="*/ 4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4" h="101">
                  <a:moveTo>
                    <a:pt x="84" y="51"/>
                  </a:moveTo>
                  <a:cubicBezTo>
                    <a:pt x="84" y="52"/>
                    <a:pt x="84" y="54"/>
                    <a:pt x="84" y="55"/>
                  </a:cubicBezTo>
                  <a:cubicBezTo>
                    <a:pt x="84" y="57"/>
                    <a:pt x="84" y="58"/>
                    <a:pt x="84" y="59"/>
                  </a:cubicBezTo>
                  <a:cubicBezTo>
                    <a:pt x="26" y="59"/>
                    <a:pt x="26" y="59"/>
                    <a:pt x="26" y="59"/>
                  </a:cubicBezTo>
                  <a:cubicBezTo>
                    <a:pt x="26" y="62"/>
                    <a:pt x="27" y="65"/>
                    <a:pt x="28" y="67"/>
                  </a:cubicBezTo>
                  <a:cubicBezTo>
                    <a:pt x="29" y="70"/>
                    <a:pt x="31" y="71"/>
                    <a:pt x="32" y="73"/>
                  </a:cubicBezTo>
                  <a:cubicBezTo>
                    <a:pt x="34" y="74"/>
                    <a:pt x="36" y="75"/>
                    <a:pt x="39" y="76"/>
                  </a:cubicBezTo>
                  <a:cubicBezTo>
                    <a:pt x="41" y="77"/>
                    <a:pt x="43" y="77"/>
                    <a:pt x="46" y="77"/>
                  </a:cubicBezTo>
                  <a:cubicBezTo>
                    <a:pt x="47" y="77"/>
                    <a:pt x="49" y="77"/>
                    <a:pt x="50" y="77"/>
                  </a:cubicBezTo>
                  <a:cubicBezTo>
                    <a:pt x="52" y="76"/>
                    <a:pt x="54" y="76"/>
                    <a:pt x="55" y="75"/>
                  </a:cubicBezTo>
                  <a:cubicBezTo>
                    <a:pt x="57" y="75"/>
                    <a:pt x="58" y="74"/>
                    <a:pt x="59" y="73"/>
                  </a:cubicBezTo>
                  <a:cubicBezTo>
                    <a:pt x="60" y="72"/>
                    <a:pt x="61" y="71"/>
                    <a:pt x="62" y="70"/>
                  </a:cubicBezTo>
                  <a:cubicBezTo>
                    <a:pt x="80" y="85"/>
                    <a:pt x="80" y="85"/>
                    <a:pt x="80" y="85"/>
                  </a:cubicBezTo>
                  <a:cubicBezTo>
                    <a:pt x="78" y="88"/>
                    <a:pt x="76" y="90"/>
                    <a:pt x="74" y="92"/>
                  </a:cubicBezTo>
                  <a:cubicBezTo>
                    <a:pt x="71" y="94"/>
                    <a:pt x="68" y="96"/>
                    <a:pt x="65" y="97"/>
                  </a:cubicBezTo>
                  <a:cubicBezTo>
                    <a:pt x="62" y="98"/>
                    <a:pt x="59" y="99"/>
                    <a:pt x="55" y="100"/>
                  </a:cubicBezTo>
                  <a:cubicBezTo>
                    <a:pt x="52" y="101"/>
                    <a:pt x="49" y="101"/>
                    <a:pt x="46" y="101"/>
                  </a:cubicBezTo>
                  <a:cubicBezTo>
                    <a:pt x="40" y="101"/>
                    <a:pt x="35" y="101"/>
                    <a:pt x="31" y="99"/>
                  </a:cubicBezTo>
                  <a:cubicBezTo>
                    <a:pt x="27" y="98"/>
                    <a:pt x="23" y="96"/>
                    <a:pt x="20" y="94"/>
                  </a:cubicBezTo>
                  <a:cubicBezTo>
                    <a:pt x="17" y="92"/>
                    <a:pt x="14" y="89"/>
                    <a:pt x="12" y="87"/>
                  </a:cubicBezTo>
                  <a:cubicBezTo>
                    <a:pt x="9" y="84"/>
                    <a:pt x="7" y="80"/>
                    <a:pt x="5" y="77"/>
                  </a:cubicBezTo>
                  <a:cubicBezTo>
                    <a:pt x="4" y="73"/>
                    <a:pt x="2" y="69"/>
                    <a:pt x="1" y="65"/>
                  </a:cubicBezTo>
                  <a:cubicBezTo>
                    <a:pt x="0" y="61"/>
                    <a:pt x="0" y="56"/>
                    <a:pt x="0" y="51"/>
                  </a:cubicBezTo>
                  <a:cubicBezTo>
                    <a:pt x="0" y="43"/>
                    <a:pt x="1" y="36"/>
                    <a:pt x="3" y="30"/>
                  </a:cubicBezTo>
                  <a:cubicBezTo>
                    <a:pt x="5" y="24"/>
                    <a:pt x="8" y="19"/>
                    <a:pt x="12" y="14"/>
                  </a:cubicBezTo>
                  <a:cubicBezTo>
                    <a:pt x="16" y="10"/>
                    <a:pt x="21" y="6"/>
                    <a:pt x="26" y="4"/>
                  </a:cubicBezTo>
                  <a:cubicBezTo>
                    <a:pt x="31" y="1"/>
                    <a:pt x="37" y="0"/>
                    <a:pt x="43" y="0"/>
                  </a:cubicBezTo>
                  <a:cubicBezTo>
                    <a:pt x="50" y="0"/>
                    <a:pt x="55" y="1"/>
                    <a:pt x="61" y="4"/>
                  </a:cubicBezTo>
                  <a:cubicBezTo>
                    <a:pt x="66" y="7"/>
                    <a:pt x="70" y="10"/>
                    <a:pt x="73" y="15"/>
                  </a:cubicBezTo>
                  <a:cubicBezTo>
                    <a:pt x="77" y="19"/>
                    <a:pt x="79" y="25"/>
                    <a:pt x="81" y="31"/>
                  </a:cubicBezTo>
                  <a:cubicBezTo>
                    <a:pt x="83" y="37"/>
                    <a:pt x="84" y="44"/>
                    <a:pt x="84" y="51"/>
                  </a:cubicBezTo>
                  <a:close/>
                  <a:moveTo>
                    <a:pt x="59" y="40"/>
                  </a:moveTo>
                  <a:cubicBezTo>
                    <a:pt x="59" y="37"/>
                    <a:pt x="59" y="35"/>
                    <a:pt x="58" y="33"/>
                  </a:cubicBezTo>
                  <a:cubicBezTo>
                    <a:pt x="57" y="31"/>
                    <a:pt x="56" y="29"/>
                    <a:pt x="55" y="28"/>
                  </a:cubicBezTo>
                  <a:cubicBezTo>
                    <a:pt x="53" y="26"/>
                    <a:pt x="51" y="25"/>
                    <a:pt x="49" y="24"/>
                  </a:cubicBezTo>
                  <a:cubicBezTo>
                    <a:pt x="47" y="23"/>
                    <a:pt x="45" y="22"/>
                    <a:pt x="42" y="22"/>
                  </a:cubicBezTo>
                  <a:cubicBezTo>
                    <a:pt x="40" y="22"/>
                    <a:pt x="37" y="23"/>
                    <a:pt x="36" y="24"/>
                  </a:cubicBezTo>
                  <a:cubicBezTo>
                    <a:pt x="34" y="24"/>
                    <a:pt x="32" y="26"/>
                    <a:pt x="31" y="27"/>
                  </a:cubicBezTo>
                  <a:cubicBezTo>
                    <a:pt x="29" y="29"/>
                    <a:pt x="28" y="31"/>
                    <a:pt x="28" y="33"/>
                  </a:cubicBezTo>
                  <a:cubicBezTo>
                    <a:pt x="27" y="35"/>
                    <a:pt x="26" y="37"/>
                    <a:pt x="26" y="40"/>
                  </a:cubicBezTo>
                  <a:lnTo>
                    <a:pt x="59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3" name="Freeform 9">
              <a:extLst>
                <a:ext uri="{FF2B5EF4-FFF2-40B4-BE49-F238E27FC236}">
                  <a16:creationId xmlns:a16="http://schemas.microsoft.com/office/drawing/2014/main" id="{F4A1F26E-26EA-44D8-8D11-97229CEC2530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035106" y="1431822"/>
              <a:ext cx="57529" cy="67989"/>
            </a:xfrm>
            <a:custGeom>
              <a:avLst/>
              <a:gdLst>
                <a:gd name="T0" fmla="*/ 58 w 84"/>
                <a:gd name="T1" fmla="*/ 97 h 99"/>
                <a:gd name="T2" fmla="*/ 58 w 84"/>
                <a:gd name="T3" fmla="*/ 91 h 99"/>
                <a:gd name="T4" fmla="*/ 49 w 84"/>
                <a:gd name="T5" fmla="*/ 97 h 99"/>
                <a:gd name="T6" fmla="*/ 35 w 84"/>
                <a:gd name="T7" fmla="*/ 99 h 99"/>
                <a:gd name="T8" fmla="*/ 9 w 84"/>
                <a:gd name="T9" fmla="*/ 88 h 99"/>
                <a:gd name="T10" fmla="*/ 0 w 84"/>
                <a:gd name="T11" fmla="*/ 55 h 99"/>
                <a:gd name="T12" fmla="*/ 0 w 84"/>
                <a:gd name="T13" fmla="*/ 0 h 99"/>
                <a:gd name="T14" fmla="*/ 25 w 84"/>
                <a:gd name="T15" fmla="*/ 0 h 99"/>
                <a:gd name="T16" fmla="*/ 25 w 84"/>
                <a:gd name="T17" fmla="*/ 52 h 99"/>
                <a:gd name="T18" fmla="*/ 29 w 84"/>
                <a:gd name="T19" fmla="*/ 70 h 99"/>
                <a:gd name="T20" fmla="*/ 42 w 84"/>
                <a:gd name="T21" fmla="*/ 75 h 99"/>
                <a:gd name="T22" fmla="*/ 54 w 84"/>
                <a:gd name="T23" fmla="*/ 70 h 99"/>
                <a:gd name="T24" fmla="*/ 58 w 84"/>
                <a:gd name="T25" fmla="*/ 53 h 99"/>
                <a:gd name="T26" fmla="*/ 58 w 84"/>
                <a:gd name="T27" fmla="*/ 0 h 99"/>
                <a:gd name="T28" fmla="*/ 84 w 84"/>
                <a:gd name="T29" fmla="*/ 0 h 99"/>
                <a:gd name="T30" fmla="*/ 84 w 84"/>
                <a:gd name="T31" fmla="*/ 97 h 99"/>
                <a:gd name="T32" fmla="*/ 58 w 84"/>
                <a:gd name="T33" fmla="*/ 97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4" h="99">
                  <a:moveTo>
                    <a:pt x="58" y="97"/>
                  </a:moveTo>
                  <a:cubicBezTo>
                    <a:pt x="58" y="91"/>
                    <a:pt x="58" y="91"/>
                    <a:pt x="58" y="91"/>
                  </a:cubicBezTo>
                  <a:cubicBezTo>
                    <a:pt x="56" y="93"/>
                    <a:pt x="53" y="95"/>
                    <a:pt x="49" y="97"/>
                  </a:cubicBezTo>
                  <a:cubicBezTo>
                    <a:pt x="45" y="98"/>
                    <a:pt x="41" y="99"/>
                    <a:pt x="35" y="99"/>
                  </a:cubicBezTo>
                  <a:cubicBezTo>
                    <a:pt x="24" y="99"/>
                    <a:pt x="15" y="95"/>
                    <a:pt x="9" y="88"/>
                  </a:cubicBezTo>
                  <a:cubicBezTo>
                    <a:pt x="3" y="80"/>
                    <a:pt x="0" y="69"/>
                    <a:pt x="0" y="5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52"/>
                    <a:pt x="25" y="52"/>
                    <a:pt x="25" y="52"/>
                  </a:cubicBezTo>
                  <a:cubicBezTo>
                    <a:pt x="25" y="60"/>
                    <a:pt x="26" y="66"/>
                    <a:pt x="29" y="70"/>
                  </a:cubicBezTo>
                  <a:cubicBezTo>
                    <a:pt x="31" y="73"/>
                    <a:pt x="36" y="75"/>
                    <a:pt x="42" y="75"/>
                  </a:cubicBezTo>
                  <a:cubicBezTo>
                    <a:pt x="48" y="75"/>
                    <a:pt x="52" y="73"/>
                    <a:pt x="54" y="70"/>
                  </a:cubicBezTo>
                  <a:cubicBezTo>
                    <a:pt x="57" y="66"/>
                    <a:pt x="58" y="60"/>
                    <a:pt x="58" y="53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97"/>
                    <a:pt x="84" y="97"/>
                    <a:pt x="84" y="97"/>
                  </a:cubicBezTo>
                  <a:lnTo>
                    <a:pt x="58" y="9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4" name="Freeform 10">
              <a:extLst>
                <a:ext uri="{FF2B5EF4-FFF2-40B4-BE49-F238E27FC236}">
                  <a16:creationId xmlns:a16="http://schemas.microsoft.com/office/drawing/2014/main" id="{45C1803D-4651-4E80-B712-F3F311657C4D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104403" y="1406980"/>
              <a:ext cx="43148" cy="92832"/>
            </a:xfrm>
            <a:custGeom>
              <a:avLst/>
              <a:gdLst>
                <a:gd name="T0" fmla="*/ 62 w 65"/>
                <a:gd name="T1" fmla="*/ 131 h 137"/>
                <a:gd name="T2" fmla="*/ 53 w 65"/>
                <a:gd name="T3" fmla="*/ 135 h 137"/>
                <a:gd name="T4" fmla="*/ 42 w 65"/>
                <a:gd name="T5" fmla="*/ 137 h 137"/>
                <a:gd name="T6" fmla="*/ 31 w 65"/>
                <a:gd name="T7" fmla="*/ 135 h 137"/>
                <a:gd name="T8" fmla="*/ 23 w 65"/>
                <a:gd name="T9" fmla="*/ 129 h 137"/>
                <a:gd name="T10" fmla="*/ 18 w 65"/>
                <a:gd name="T11" fmla="*/ 120 h 137"/>
                <a:gd name="T12" fmla="*/ 16 w 65"/>
                <a:gd name="T13" fmla="*/ 108 h 137"/>
                <a:gd name="T14" fmla="*/ 16 w 65"/>
                <a:gd name="T15" fmla="*/ 62 h 137"/>
                <a:gd name="T16" fmla="*/ 0 w 65"/>
                <a:gd name="T17" fmla="*/ 62 h 137"/>
                <a:gd name="T18" fmla="*/ 0 w 65"/>
                <a:gd name="T19" fmla="*/ 38 h 137"/>
                <a:gd name="T20" fmla="*/ 16 w 65"/>
                <a:gd name="T21" fmla="*/ 38 h 137"/>
                <a:gd name="T22" fmla="*/ 16 w 65"/>
                <a:gd name="T23" fmla="*/ 13 h 137"/>
                <a:gd name="T24" fmla="*/ 42 w 65"/>
                <a:gd name="T25" fmla="*/ 0 h 137"/>
                <a:gd name="T26" fmla="*/ 42 w 65"/>
                <a:gd name="T27" fmla="*/ 38 h 137"/>
                <a:gd name="T28" fmla="*/ 65 w 65"/>
                <a:gd name="T29" fmla="*/ 38 h 137"/>
                <a:gd name="T30" fmla="*/ 65 w 65"/>
                <a:gd name="T31" fmla="*/ 62 h 137"/>
                <a:gd name="T32" fmla="*/ 42 w 65"/>
                <a:gd name="T33" fmla="*/ 62 h 137"/>
                <a:gd name="T34" fmla="*/ 42 w 65"/>
                <a:gd name="T35" fmla="*/ 101 h 137"/>
                <a:gd name="T36" fmla="*/ 42 w 65"/>
                <a:gd name="T37" fmla="*/ 107 h 137"/>
                <a:gd name="T38" fmla="*/ 44 w 65"/>
                <a:gd name="T39" fmla="*/ 110 h 137"/>
                <a:gd name="T40" fmla="*/ 47 w 65"/>
                <a:gd name="T41" fmla="*/ 112 h 137"/>
                <a:gd name="T42" fmla="*/ 51 w 65"/>
                <a:gd name="T43" fmla="*/ 113 h 137"/>
                <a:gd name="T44" fmla="*/ 58 w 65"/>
                <a:gd name="T45" fmla="*/ 111 h 137"/>
                <a:gd name="T46" fmla="*/ 65 w 65"/>
                <a:gd name="T47" fmla="*/ 105 h 137"/>
                <a:gd name="T48" fmla="*/ 62 w 65"/>
                <a:gd name="T49" fmla="*/ 131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5" h="137">
                  <a:moveTo>
                    <a:pt x="62" y="131"/>
                  </a:moveTo>
                  <a:cubicBezTo>
                    <a:pt x="60" y="133"/>
                    <a:pt x="57" y="134"/>
                    <a:pt x="53" y="135"/>
                  </a:cubicBezTo>
                  <a:cubicBezTo>
                    <a:pt x="50" y="137"/>
                    <a:pt x="46" y="137"/>
                    <a:pt x="42" y="137"/>
                  </a:cubicBezTo>
                  <a:cubicBezTo>
                    <a:pt x="38" y="137"/>
                    <a:pt x="34" y="136"/>
                    <a:pt x="31" y="135"/>
                  </a:cubicBezTo>
                  <a:cubicBezTo>
                    <a:pt x="28" y="134"/>
                    <a:pt x="25" y="132"/>
                    <a:pt x="23" y="129"/>
                  </a:cubicBezTo>
                  <a:cubicBezTo>
                    <a:pt x="21" y="126"/>
                    <a:pt x="19" y="123"/>
                    <a:pt x="18" y="120"/>
                  </a:cubicBezTo>
                  <a:cubicBezTo>
                    <a:pt x="17" y="116"/>
                    <a:pt x="16" y="112"/>
                    <a:pt x="16" y="108"/>
                  </a:cubicBezTo>
                  <a:cubicBezTo>
                    <a:pt x="16" y="62"/>
                    <a:pt x="16" y="62"/>
                    <a:pt x="16" y="62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38"/>
                    <a:pt x="42" y="38"/>
                    <a:pt x="42" y="38"/>
                  </a:cubicBezTo>
                  <a:cubicBezTo>
                    <a:pt x="65" y="38"/>
                    <a:pt x="65" y="38"/>
                    <a:pt x="65" y="38"/>
                  </a:cubicBezTo>
                  <a:cubicBezTo>
                    <a:pt x="65" y="62"/>
                    <a:pt x="65" y="62"/>
                    <a:pt x="65" y="62"/>
                  </a:cubicBezTo>
                  <a:cubicBezTo>
                    <a:pt x="42" y="62"/>
                    <a:pt x="42" y="62"/>
                    <a:pt x="42" y="62"/>
                  </a:cubicBezTo>
                  <a:cubicBezTo>
                    <a:pt x="42" y="101"/>
                    <a:pt x="42" y="101"/>
                    <a:pt x="42" y="101"/>
                  </a:cubicBezTo>
                  <a:cubicBezTo>
                    <a:pt x="42" y="103"/>
                    <a:pt x="42" y="105"/>
                    <a:pt x="42" y="107"/>
                  </a:cubicBezTo>
                  <a:cubicBezTo>
                    <a:pt x="43" y="108"/>
                    <a:pt x="43" y="110"/>
                    <a:pt x="44" y="110"/>
                  </a:cubicBezTo>
                  <a:cubicBezTo>
                    <a:pt x="45" y="111"/>
                    <a:pt x="46" y="112"/>
                    <a:pt x="47" y="112"/>
                  </a:cubicBezTo>
                  <a:cubicBezTo>
                    <a:pt x="48" y="113"/>
                    <a:pt x="49" y="113"/>
                    <a:pt x="51" y="113"/>
                  </a:cubicBezTo>
                  <a:cubicBezTo>
                    <a:pt x="53" y="113"/>
                    <a:pt x="55" y="112"/>
                    <a:pt x="58" y="111"/>
                  </a:cubicBezTo>
                  <a:cubicBezTo>
                    <a:pt x="60" y="110"/>
                    <a:pt x="62" y="108"/>
                    <a:pt x="65" y="105"/>
                  </a:cubicBezTo>
                  <a:lnTo>
                    <a:pt x="62" y="13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5" name="Freeform 11">
              <a:extLst>
                <a:ext uri="{FF2B5EF4-FFF2-40B4-BE49-F238E27FC236}">
                  <a16:creationId xmlns:a16="http://schemas.microsoft.com/office/drawing/2014/main" id="{711CC3A8-EDFC-4EAE-A2DC-ACDC3B1D9DEB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160625" y="1430515"/>
              <a:ext cx="56222" cy="69297"/>
            </a:xfrm>
            <a:custGeom>
              <a:avLst/>
              <a:gdLst>
                <a:gd name="T0" fmla="*/ 78 w 81"/>
                <a:gd name="T1" fmla="*/ 9 h 101"/>
                <a:gd name="T2" fmla="*/ 70 w 81"/>
                <a:gd name="T3" fmla="*/ 30 h 101"/>
                <a:gd name="T4" fmla="*/ 55 w 81"/>
                <a:gd name="T5" fmla="*/ 24 h 101"/>
                <a:gd name="T6" fmla="*/ 41 w 81"/>
                <a:gd name="T7" fmla="*/ 22 h 101"/>
                <a:gd name="T8" fmla="*/ 31 w 81"/>
                <a:gd name="T9" fmla="*/ 23 h 101"/>
                <a:gd name="T10" fmla="*/ 28 w 81"/>
                <a:gd name="T11" fmla="*/ 28 h 101"/>
                <a:gd name="T12" fmla="*/ 29 w 81"/>
                <a:gd name="T13" fmla="*/ 31 h 101"/>
                <a:gd name="T14" fmla="*/ 32 w 81"/>
                <a:gd name="T15" fmla="*/ 33 h 101"/>
                <a:gd name="T16" fmla="*/ 38 w 81"/>
                <a:gd name="T17" fmla="*/ 36 h 101"/>
                <a:gd name="T18" fmla="*/ 48 w 81"/>
                <a:gd name="T19" fmla="*/ 39 h 101"/>
                <a:gd name="T20" fmla="*/ 61 w 81"/>
                <a:gd name="T21" fmla="*/ 44 h 101"/>
                <a:gd name="T22" fmla="*/ 71 w 81"/>
                <a:gd name="T23" fmla="*/ 50 h 101"/>
                <a:gd name="T24" fmla="*/ 78 w 81"/>
                <a:gd name="T25" fmla="*/ 59 h 101"/>
                <a:gd name="T26" fmla="*/ 81 w 81"/>
                <a:gd name="T27" fmla="*/ 71 h 101"/>
                <a:gd name="T28" fmla="*/ 78 w 81"/>
                <a:gd name="T29" fmla="*/ 85 h 101"/>
                <a:gd name="T30" fmla="*/ 69 w 81"/>
                <a:gd name="T31" fmla="*/ 94 h 101"/>
                <a:gd name="T32" fmla="*/ 57 w 81"/>
                <a:gd name="T33" fmla="*/ 100 h 101"/>
                <a:gd name="T34" fmla="*/ 41 w 81"/>
                <a:gd name="T35" fmla="*/ 101 h 101"/>
                <a:gd name="T36" fmla="*/ 19 w 81"/>
                <a:gd name="T37" fmla="*/ 98 h 101"/>
                <a:gd name="T38" fmla="*/ 0 w 81"/>
                <a:gd name="T39" fmla="*/ 90 h 101"/>
                <a:gd name="T40" fmla="*/ 9 w 81"/>
                <a:gd name="T41" fmla="*/ 70 h 101"/>
                <a:gd name="T42" fmla="*/ 25 w 81"/>
                <a:gd name="T43" fmla="*/ 77 h 101"/>
                <a:gd name="T44" fmla="*/ 43 w 81"/>
                <a:gd name="T45" fmla="*/ 79 h 101"/>
                <a:gd name="T46" fmla="*/ 53 w 81"/>
                <a:gd name="T47" fmla="*/ 78 h 101"/>
                <a:gd name="T48" fmla="*/ 56 w 81"/>
                <a:gd name="T49" fmla="*/ 72 h 101"/>
                <a:gd name="T50" fmla="*/ 55 w 81"/>
                <a:gd name="T51" fmla="*/ 69 h 101"/>
                <a:gd name="T52" fmla="*/ 53 w 81"/>
                <a:gd name="T53" fmla="*/ 67 h 101"/>
                <a:gd name="T54" fmla="*/ 48 w 81"/>
                <a:gd name="T55" fmla="*/ 64 h 101"/>
                <a:gd name="T56" fmla="*/ 41 w 81"/>
                <a:gd name="T57" fmla="*/ 62 h 101"/>
                <a:gd name="T58" fmla="*/ 26 w 81"/>
                <a:gd name="T59" fmla="*/ 57 h 101"/>
                <a:gd name="T60" fmla="*/ 13 w 81"/>
                <a:gd name="T61" fmla="*/ 51 h 101"/>
                <a:gd name="T62" fmla="*/ 6 w 81"/>
                <a:gd name="T63" fmla="*/ 42 h 101"/>
                <a:gd name="T64" fmla="*/ 3 w 81"/>
                <a:gd name="T65" fmla="*/ 29 h 101"/>
                <a:gd name="T66" fmla="*/ 6 w 81"/>
                <a:gd name="T67" fmla="*/ 16 h 101"/>
                <a:gd name="T68" fmla="*/ 14 w 81"/>
                <a:gd name="T69" fmla="*/ 7 h 101"/>
                <a:gd name="T70" fmla="*/ 26 w 81"/>
                <a:gd name="T71" fmla="*/ 2 h 101"/>
                <a:gd name="T72" fmla="*/ 42 w 81"/>
                <a:gd name="T73" fmla="*/ 0 h 101"/>
                <a:gd name="T74" fmla="*/ 61 w 81"/>
                <a:gd name="T75" fmla="*/ 3 h 101"/>
                <a:gd name="T76" fmla="*/ 78 w 81"/>
                <a:gd name="T77" fmla="*/ 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81" h="101">
                  <a:moveTo>
                    <a:pt x="78" y="9"/>
                  </a:moveTo>
                  <a:cubicBezTo>
                    <a:pt x="70" y="30"/>
                    <a:pt x="70" y="30"/>
                    <a:pt x="70" y="30"/>
                  </a:cubicBezTo>
                  <a:cubicBezTo>
                    <a:pt x="65" y="27"/>
                    <a:pt x="60" y="25"/>
                    <a:pt x="55" y="24"/>
                  </a:cubicBezTo>
                  <a:cubicBezTo>
                    <a:pt x="50" y="22"/>
                    <a:pt x="45" y="22"/>
                    <a:pt x="41" y="22"/>
                  </a:cubicBezTo>
                  <a:cubicBezTo>
                    <a:pt x="37" y="22"/>
                    <a:pt x="34" y="22"/>
                    <a:pt x="31" y="23"/>
                  </a:cubicBezTo>
                  <a:cubicBezTo>
                    <a:pt x="29" y="24"/>
                    <a:pt x="28" y="26"/>
                    <a:pt x="28" y="28"/>
                  </a:cubicBezTo>
                  <a:cubicBezTo>
                    <a:pt x="28" y="29"/>
                    <a:pt x="29" y="30"/>
                    <a:pt x="29" y="31"/>
                  </a:cubicBezTo>
                  <a:cubicBezTo>
                    <a:pt x="29" y="32"/>
                    <a:pt x="30" y="32"/>
                    <a:pt x="32" y="33"/>
                  </a:cubicBezTo>
                  <a:cubicBezTo>
                    <a:pt x="33" y="34"/>
                    <a:pt x="35" y="35"/>
                    <a:pt x="38" y="36"/>
                  </a:cubicBezTo>
                  <a:cubicBezTo>
                    <a:pt x="41" y="37"/>
                    <a:pt x="44" y="38"/>
                    <a:pt x="48" y="39"/>
                  </a:cubicBezTo>
                  <a:cubicBezTo>
                    <a:pt x="53" y="41"/>
                    <a:pt x="57" y="42"/>
                    <a:pt x="61" y="44"/>
                  </a:cubicBezTo>
                  <a:cubicBezTo>
                    <a:pt x="65" y="46"/>
                    <a:pt x="68" y="48"/>
                    <a:pt x="71" y="50"/>
                  </a:cubicBezTo>
                  <a:cubicBezTo>
                    <a:pt x="74" y="52"/>
                    <a:pt x="76" y="55"/>
                    <a:pt x="78" y="59"/>
                  </a:cubicBezTo>
                  <a:cubicBezTo>
                    <a:pt x="80" y="62"/>
                    <a:pt x="81" y="66"/>
                    <a:pt x="81" y="71"/>
                  </a:cubicBezTo>
                  <a:cubicBezTo>
                    <a:pt x="81" y="76"/>
                    <a:pt x="80" y="81"/>
                    <a:pt x="78" y="85"/>
                  </a:cubicBezTo>
                  <a:cubicBezTo>
                    <a:pt x="76" y="89"/>
                    <a:pt x="73" y="92"/>
                    <a:pt x="69" y="94"/>
                  </a:cubicBezTo>
                  <a:cubicBezTo>
                    <a:pt x="66" y="97"/>
                    <a:pt x="61" y="98"/>
                    <a:pt x="57" y="100"/>
                  </a:cubicBezTo>
                  <a:cubicBezTo>
                    <a:pt x="52" y="101"/>
                    <a:pt x="47" y="101"/>
                    <a:pt x="41" y="101"/>
                  </a:cubicBezTo>
                  <a:cubicBezTo>
                    <a:pt x="34" y="101"/>
                    <a:pt x="26" y="100"/>
                    <a:pt x="19" y="98"/>
                  </a:cubicBezTo>
                  <a:cubicBezTo>
                    <a:pt x="12" y="96"/>
                    <a:pt x="6" y="93"/>
                    <a:pt x="0" y="90"/>
                  </a:cubicBezTo>
                  <a:cubicBezTo>
                    <a:pt x="9" y="70"/>
                    <a:pt x="9" y="70"/>
                    <a:pt x="9" y="70"/>
                  </a:cubicBezTo>
                  <a:cubicBezTo>
                    <a:pt x="14" y="73"/>
                    <a:pt x="20" y="76"/>
                    <a:pt x="25" y="77"/>
                  </a:cubicBezTo>
                  <a:cubicBezTo>
                    <a:pt x="31" y="79"/>
                    <a:pt x="36" y="79"/>
                    <a:pt x="43" y="79"/>
                  </a:cubicBezTo>
                  <a:cubicBezTo>
                    <a:pt x="47" y="79"/>
                    <a:pt x="51" y="79"/>
                    <a:pt x="53" y="78"/>
                  </a:cubicBezTo>
                  <a:cubicBezTo>
                    <a:pt x="55" y="76"/>
                    <a:pt x="56" y="75"/>
                    <a:pt x="56" y="72"/>
                  </a:cubicBezTo>
                  <a:cubicBezTo>
                    <a:pt x="56" y="71"/>
                    <a:pt x="55" y="70"/>
                    <a:pt x="55" y="69"/>
                  </a:cubicBezTo>
                  <a:cubicBezTo>
                    <a:pt x="54" y="68"/>
                    <a:pt x="54" y="67"/>
                    <a:pt x="53" y="67"/>
                  </a:cubicBezTo>
                  <a:cubicBezTo>
                    <a:pt x="51" y="66"/>
                    <a:pt x="50" y="65"/>
                    <a:pt x="48" y="64"/>
                  </a:cubicBezTo>
                  <a:cubicBezTo>
                    <a:pt x="46" y="64"/>
                    <a:pt x="44" y="63"/>
                    <a:pt x="41" y="62"/>
                  </a:cubicBezTo>
                  <a:cubicBezTo>
                    <a:pt x="36" y="60"/>
                    <a:pt x="30" y="59"/>
                    <a:pt x="26" y="57"/>
                  </a:cubicBezTo>
                  <a:cubicBezTo>
                    <a:pt x="21" y="55"/>
                    <a:pt x="17" y="53"/>
                    <a:pt x="13" y="51"/>
                  </a:cubicBezTo>
                  <a:cubicBezTo>
                    <a:pt x="10" y="48"/>
                    <a:pt x="8" y="45"/>
                    <a:pt x="6" y="42"/>
                  </a:cubicBezTo>
                  <a:cubicBezTo>
                    <a:pt x="4" y="38"/>
                    <a:pt x="3" y="34"/>
                    <a:pt x="3" y="29"/>
                  </a:cubicBezTo>
                  <a:cubicBezTo>
                    <a:pt x="3" y="24"/>
                    <a:pt x="4" y="19"/>
                    <a:pt x="6" y="16"/>
                  </a:cubicBezTo>
                  <a:cubicBezTo>
                    <a:pt x="8" y="12"/>
                    <a:pt x="10" y="9"/>
                    <a:pt x="14" y="7"/>
                  </a:cubicBezTo>
                  <a:cubicBezTo>
                    <a:pt x="17" y="4"/>
                    <a:pt x="21" y="3"/>
                    <a:pt x="26" y="2"/>
                  </a:cubicBezTo>
                  <a:cubicBezTo>
                    <a:pt x="31" y="0"/>
                    <a:pt x="36" y="0"/>
                    <a:pt x="42" y="0"/>
                  </a:cubicBezTo>
                  <a:cubicBezTo>
                    <a:pt x="48" y="0"/>
                    <a:pt x="54" y="1"/>
                    <a:pt x="61" y="3"/>
                  </a:cubicBezTo>
                  <a:cubicBezTo>
                    <a:pt x="67" y="4"/>
                    <a:pt x="73" y="7"/>
                    <a:pt x="78" y="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12">
              <a:extLst>
                <a:ext uri="{FF2B5EF4-FFF2-40B4-BE49-F238E27FC236}">
                  <a16:creationId xmlns:a16="http://schemas.microsoft.com/office/drawing/2014/main" id="{C17A032D-DB72-46B0-B4C8-EE8C8CC504F2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226000" y="1430515"/>
              <a:ext cx="58837" cy="69297"/>
            </a:xfrm>
            <a:custGeom>
              <a:avLst/>
              <a:gdLst>
                <a:gd name="T0" fmla="*/ 85 w 85"/>
                <a:gd name="T1" fmla="*/ 80 h 101"/>
                <a:gd name="T2" fmla="*/ 77 w 85"/>
                <a:gd name="T3" fmla="*/ 88 h 101"/>
                <a:gd name="T4" fmla="*/ 69 w 85"/>
                <a:gd name="T5" fmla="*/ 95 h 101"/>
                <a:gd name="T6" fmla="*/ 58 w 85"/>
                <a:gd name="T7" fmla="*/ 100 h 101"/>
                <a:gd name="T8" fmla="*/ 45 w 85"/>
                <a:gd name="T9" fmla="*/ 101 h 101"/>
                <a:gd name="T10" fmla="*/ 27 w 85"/>
                <a:gd name="T11" fmla="*/ 98 h 101"/>
                <a:gd name="T12" fmla="*/ 13 w 85"/>
                <a:gd name="T13" fmla="*/ 87 h 101"/>
                <a:gd name="T14" fmla="*/ 3 w 85"/>
                <a:gd name="T15" fmla="*/ 71 h 101"/>
                <a:gd name="T16" fmla="*/ 0 w 85"/>
                <a:gd name="T17" fmla="*/ 51 h 101"/>
                <a:gd name="T18" fmla="*/ 3 w 85"/>
                <a:gd name="T19" fmla="*/ 30 h 101"/>
                <a:gd name="T20" fmla="*/ 13 w 85"/>
                <a:gd name="T21" fmla="*/ 14 h 101"/>
                <a:gd name="T22" fmla="*/ 28 w 85"/>
                <a:gd name="T23" fmla="*/ 4 h 101"/>
                <a:gd name="T24" fmla="*/ 46 w 85"/>
                <a:gd name="T25" fmla="*/ 0 h 101"/>
                <a:gd name="T26" fmla="*/ 68 w 85"/>
                <a:gd name="T27" fmla="*/ 5 h 101"/>
                <a:gd name="T28" fmla="*/ 85 w 85"/>
                <a:gd name="T29" fmla="*/ 21 h 101"/>
                <a:gd name="T30" fmla="*/ 68 w 85"/>
                <a:gd name="T31" fmla="*/ 38 h 101"/>
                <a:gd name="T32" fmla="*/ 63 w 85"/>
                <a:gd name="T33" fmla="*/ 33 h 101"/>
                <a:gd name="T34" fmla="*/ 58 w 85"/>
                <a:gd name="T35" fmla="*/ 28 h 101"/>
                <a:gd name="T36" fmla="*/ 53 w 85"/>
                <a:gd name="T37" fmla="*/ 26 h 101"/>
                <a:gd name="T38" fmla="*/ 46 w 85"/>
                <a:gd name="T39" fmla="*/ 25 h 101"/>
                <a:gd name="T40" fmla="*/ 37 w 85"/>
                <a:gd name="T41" fmla="*/ 26 h 101"/>
                <a:gd name="T42" fmla="*/ 31 w 85"/>
                <a:gd name="T43" fmla="*/ 32 h 101"/>
                <a:gd name="T44" fmla="*/ 27 w 85"/>
                <a:gd name="T45" fmla="*/ 40 h 101"/>
                <a:gd name="T46" fmla="*/ 26 w 85"/>
                <a:gd name="T47" fmla="*/ 51 h 101"/>
                <a:gd name="T48" fmla="*/ 27 w 85"/>
                <a:gd name="T49" fmla="*/ 61 h 101"/>
                <a:gd name="T50" fmla="*/ 31 w 85"/>
                <a:gd name="T51" fmla="*/ 69 h 101"/>
                <a:gd name="T52" fmla="*/ 37 w 85"/>
                <a:gd name="T53" fmla="*/ 75 h 101"/>
                <a:gd name="T54" fmla="*/ 46 w 85"/>
                <a:gd name="T55" fmla="*/ 77 h 101"/>
                <a:gd name="T56" fmla="*/ 52 w 85"/>
                <a:gd name="T57" fmla="*/ 76 h 101"/>
                <a:gd name="T58" fmla="*/ 58 w 85"/>
                <a:gd name="T59" fmla="*/ 73 h 101"/>
                <a:gd name="T60" fmla="*/ 64 w 85"/>
                <a:gd name="T61" fmla="*/ 69 h 101"/>
                <a:gd name="T62" fmla="*/ 69 w 85"/>
                <a:gd name="T63" fmla="*/ 64 h 101"/>
                <a:gd name="T64" fmla="*/ 85 w 85"/>
                <a:gd name="T65" fmla="*/ 8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5" h="101">
                  <a:moveTo>
                    <a:pt x="85" y="80"/>
                  </a:moveTo>
                  <a:cubicBezTo>
                    <a:pt x="83" y="83"/>
                    <a:pt x="80" y="86"/>
                    <a:pt x="77" y="88"/>
                  </a:cubicBezTo>
                  <a:cubicBezTo>
                    <a:pt x="75" y="91"/>
                    <a:pt x="72" y="93"/>
                    <a:pt x="69" y="95"/>
                  </a:cubicBezTo>
                  <a:cubicBezTo>
                    <a:pt x="65" y="97"/>
                    <a:pt x="62" y="98"/>
                    <a:pt x="58" y="100"/>
                  </a:cubicBezTo>
                  <a:cubicBezTo>
                    <a:pt x="54" y="101"/>
                    <a:pt x="50" y="101"/>
                    <a:pt x="45" y="101"/>
                  </a:cubicBezTo>
                  <a:cubicBezTo>
                    <a:pt x="39" y="101"/>
                    <a:pt x="33" y="100"/>
                    <a:pt x="27" y="98"/>
                  </a:cubicBezTo>
                  <a:cubicBezTo>
                    <a:pt x="22" y="95"/>
                    <a:pt x="17" y="92"/>
                    <a:pt x="13" y="87"/>
                  </a:cubicBezTo>
                  <a:cubicBezTo>
                    <a:pt x="9" y="83"/>
                    <a:pt x="5" y="77"/>
                    <a:pt x="3" y="71"/>
                  </a:cubicBezTo>
                  <a:cubicBezTo>
                    <a:pt x="1" y="65"/>
                    <a:pt x="0" y="58"/>
                    <a:pt x="0" y="51"/>
                  </a:cubicBezTo>
                  <a:cubicBezTo>
                    <a:pt x="0" y="43"/>
                    <a:pt x="1" y="36"/>
                    <a:pt x="3" y="30"/>
                  </a:cubicBezTo>
                  <a:cubicBezTo>
                    <a:pt x="5" y="24"/>
                    <a:pt x="9" y="19"/>
                    <a:pt x="13" y="14"/>
                  </a:cubicBezTo>
                  <a:cubicBezTo>
                    <a:pt x="17" y="10"/>
                    <a:pt x="22" y="6"/>
                    <a:pt x="28" y="4"/>
                  </a:cubicBezTo>
                  <a:cubicBezTo>
                    <a:pt x="33" y="1"/>
                    <a:pt x="39" y="0"/>
                    <a:pt x="46" y="0"/>
                  </a:cubicBezTo>
                  <a:cubicBezTo>
                    <a:pt x="54" y="0"/>
                    <a:pt x="62" y="2"/>
                    <a:pt x="68" y="5"/>
                  </a:cubicBezTo>
                  <a:cubicBezTo>
                    <a:pt x="74" y="9"/>
                    <a:pt x="80" y="14"/>
                    <a:pt x="85" y="21"/>
                  </a:cubicBezTo>
                  <a:cubicBezTo>
                    <a:pt x="68" y="38"/>
                    <a:pt x="68" y="38"/>
                    <a:pt x="68" y="38"/>
                  </a:cubicBezTo>
                  <a:cubicBezTo>
                    <a:pt x="66" y="36"/>
                    <a:pt x="65" y="35"/>
                    <a:pt x="63" y="33"/>
                  </a:cubicBezTo>
                  <a:cubicBezTo>
                    <a:pt x="62" y="31"/>
                    <a:pt x="60" y="30"/>
                    <a:pt x="58" y="28"/>
                  </a:cubicBezTo>
                  <a:cubicBezTo>
                    <a:pt x="57" y="27"/>
                    <a:pt x="55" y="26"/>
                    <a:pt x="53" y="26"/>
                  </a:cubicBezTo>
                  <a:cubicBezTo>
                    <a:pt x="51" y="25"/>
                    <a:pt x="48" y="25"/>
                    <a:pt x="46" y="25"/>
                  </a:cubicBezTo>
                  <a:cubicBezTo>
                    <a:pt x="43" y="25"/>
                    <a:pt x="40" y="25"/>
                    <a:pt x="37" y="26"/>
                  </a:cubicBezTo>
                  <a:cubicBezTo>
                    <a:pt x="35" y="28"/>
                    <a:pt x="33" y="29"/>
                    <a:pt x="31" y="32"/>
                  </a:cubicBezTo>
                  <a:cubicBezTo>
                    <a:pt x="29" y="34"/>
                    <a:pt x="28" y="37"/>
                    <a:pt x="27" y="40"/>
                  </a:cubicBezTo>
                  <a:cubicBezTo>
                    <a:pt x="26" y="43"/>
                    <a:pt x="26" y="47"/>
                    <a:pt x="26" y="51"/>
                  </a:cubicBezTo>
                  <a:cubicBezTo>
                    <a:pt x="26" y="55"/>
                    <a:pt x="26" y="58"/>
                    <a:pt x="27" y="61"/>
                  </a:cubicBezTo>
                  <a:cubicBezTo>
                    <a:pt x="28" y="64"/>
                    <a:pt x="29" y="67"/>
                    <a:pt x="31" y="69"/>
                  </a:cubicBezTo>
                  <a:cubicBezTo>
                    <a:pt x="33" y="72"/>
                    <a:pt x="35" y="73"/>
                    <a:pt x="37" y="75"/>
                  </a:cubicBezTo>
                  <a:cubicBezTo>
                    <a:pt x="40" y="76"/>
                    <a:pt x="43" y="77"/>
                    <a:pt x="46" y="77"/>
                  </a:cubicBezTo>
                  <a:cubicBezTo>
                    <a:pt x="48" y="77"/>
                    <a:pt x="50" y="76"/>
                    <a:pt x="52" y="76"/>
                  </a:cubicBezTo>
                  <a:cubicBezTo>
                    <a:pt x="55" y="75"/>
                    <a:pt x="57" y="74"/>
                    <a:pt x="58" y="73"/>
                  </a:cubicBezTo>
                  <a:cubicBezTo>
                    <a:pt x="60" y="72"/>
                    <a:pt x="62" y="71"/>
                    <a:pt x="64" y="69"/>
                  </a:cubicBezTo>
                  <a:cubicBezTo>
                    <a:pt x="65" y="68"/>
                    <a:pt x="67" y="66"/>
                    <a:pt x="69" y="64"/>
                  </a:cubicBezTo>
                  <a:lnTo>
                    <a:pt x="85" y="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3">
              <a:extLst>
                <a:ext uri="{FF2B5EF4-FFF2-40B4-BE49-F238E27FC236}">
                  <a16:creationId xmlns:a16="http://schemas.microsoft.com/office/drawing/2014/main" id="{2280FDE2-015D-4B7A-8900-05F5FB783060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297911" y="1406980"/>
              <a:ext cx="57529" cy="91524"/>
            </a:xfrm>
            <a:custGeom>
              <a:avLst/>
              <a:gdLst>
                <a:gd name="T0" fmla="*/ 59 w 84"/>
                <a:gd name="T1" fmla="*/ 135 h 135"/>
                <a:gd name="T2" fmla="*/ 59 w 84"/>
                <a:gd name="T3" fmla="*/ 83 h 135"/>
                <a:gd name="T4" fmla="*/ 55 w 84"/>
                <a:gd name="T5" fmla="*/ 66 h 135"/>
                <a:gd name="T6" fmla="*/ 42 w 84"/>
                <a:gd name="T7" fmla="*/ 60 h 135"/>
                <a:gd name="T8" fmla="*/ 35 w 84"/>
                <a:gd name="T9" fmla="*/ 61 h 135"/>
                <a:gd name="T10" fmla="*/ 30 w 84"/>
                <a:gd name="T11" fmla="*/ 65 h 135"/>
                <a:gd name="T12" fmla="*/ 27 w 84"/>
                <a:gd name="T13" fmla="*/ 71 h 135"/>
                <a:gd name="T14" fmla="*/ 25 w 84"/>
                <a:gd name="T15" fmla="*/ 82 h 135"/>
                <a:gd name="T16" fmla="*/ 25 w 84"/>
                <a:gd name="T17" fmla="*/ 135 h 135"/>
                <a:gd name="T18" fmla="*/ 0 w 84"/>
                <a:gd name="T19" fmla="*/ 135 h 135"/>
                <a:gd name="T20" fmla="*/ 0 w 84"/>
                <a:gd name="T21" fmla="*/ 13 h 135"/>
                <a:gd name="T22" fmla="*/ 25 w 84"/>
                <a:gd name="T23" fmla="*/ 0 h 135"/>
                <a:gd name="T24" fmla="*/ 25 w 84"/>
                <a:gd name="T25" fmla="*/ 44 h 135"/>
                <a:gd name="T26" fmla="*/ 29 w 84"/>
                <a:gd name="T27" fmla="*/ 41 h 135"/>
                <a:gd name="T28" fmla="*/ 35 w 84"/>
                <a:gd name="T29" fmla="*/ 38 h 135"/>
                <a:gd name="T30" fmla="*/ 41 w 84"/>
                <a:gd name="T31" fmla="*/ 37 h 135"/>
                <a:gd name="T32" fmla="*/ 48 w 84"/>
                <a:gd name="T33" fmla="*/ 36 h 135"/>
                <a:gd name="T34" fmla="*/ 64 w 84"/>
                <a:gd name="T35" fmla="*/ 39 h 135"/>
                <a:gd name="T36" fmla="*/ 75 w 84"/>
                <a:gd name="T37" fmla="*/ 48 h 135"/>
                <a:gd name="T38" fmla="*/ 82 w 84"/>
                <a:gd name="T39" fmla="*/ 62 h 135"/>
                <a:gd name="T40" fmla="*/ 84 w 84"/>
                <a:gd name="T41" fmla="*/ 80 h 135"/>
                <a:gd name="T42" fmla="*/ 84 w 84"/>
                <a:gd name="T43" fmla="*/ 135 h 135"/>
                <a:gd name="T44" fmla="*/ 59 w 84"/>
                <a:gd name="T45" fmla="*/ 135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4" h="135">
                  <a:moveTo>
                    <a:pt x="59" y="135"/>
                  </a:moveTo>
                  <a:cubicBezTo>
                    <a:pt x="59" y="83"/>
                    <a:pt x="59" y="83"/>
                    <a:pt x="59" y="83"/>
                  </a:cubicBezTo>
                  <a:cubicBezTo>
                    <a:pt x="59" y="75"/>
                    <a:pt x="57" y="69"/>
                    <a:pt x="55" y="66"/>
                  </a:cubicBezTo>
                  <a:cubicBezTo>
                    <a:pt x="52" y="62"/>
                    <a:pt x="48" y="60"/>
                    <a:pt x="42" y="60"/>
                  </a:cubicBezTo>
                  <a:cubicBezTo>
                    <a:pt x="39" y="60"/>
                    <a:pt x="37" y="60"/>
                    <a:pt x="35" y="61"/>
                  </a:cubicBezTo>
                  <a:cubicBezTo>
                    <a:pt x="33" y="62"/>
                    <a:pt x="31" y="63"/>
                    <a:pt x="30" y="65"/>
                  </a:cubicBezTo>
                  <a:cubicBezTo>
                    <a:pt x="28" y="66"/>
                    <a:pt x="27" y="69"/>
                    <a:pt x="27" y="71"/>
                  </a:cubicBezTo>
                  <a:cubicBezTo>
                    <a:pt x="26" y="74"/>
                    <a:pt x="25" y="78"/>
                    <a:pt x="25" y="82"/>
                  </a:cubicBezTo>
                  <a:cubicBezTo>
                    <a:pt x="25" y="135"/>
                    <a:pt x="25" y="135"/>
                    <a:pt x="25" y="135"/>
                  </a:cubicBezTo>
                  <a:cubicBezTo>
                    <a:pt x="0" y="135"/>
                    <a:pt x="0" y="135"/>
                    <a:pt x="0" y="135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44"/>
                    <a:pt x="25" y="44"/>
                    <a:pt x="25" y="44"/>
                  </a:cubicBezTo>
                  <a:cubicBezTo>
                    <a:pt x="27" y="43"/>
                    <a:pt x="28" y="42"/>
                    <a:pt x="29" y="41"/>
                  </a:cubicBezTo>
                  <a:cubicBezTo>
                    <a:pt x="31" y="40"/>
                    <a:pt x="33" y="39"/>
                    <a:pt x="35" y="38"/>
                  </a:cubicBezTo>
                  <a:cubicBezTo>
                    <a:pt x="37" y="38"/>
                    <a:pt x="39" y="37"/>
                    <a:pt x="41" y="37"/>
                  </a:cubicBezTo>
                  <a:cubicBezTo>
                    <a:pt x="43" y="36"/>
                    <a:pt x="46" y="36"/>
                    <a:pt x="48" y="36"/>
                  </a:cubicBezTo>
                  <a:cubicBezTo>
                    <a:pt x="54" y="36"/>
                    <a:pt x="60" y="37"/>
                    <a:pt x="64" y="39"/>
                  </a:cubicBezTo>
                  <a:cubicBezTo>
                    <a:pt x="69" y="41"/>
                    <a:pt x="73" y="44"/>
                    <a:pt x="75" y="48"/>
                  </a:cubicBezTo>
                  <a:cubicBezTo>
                    <a:pt x="78" y="52"/>
                    <a:pt x="81" y="56"/>
                    <a:pt x="82" y="62"/>
                  </a:cubicBezTo>
                  <a:cubicBezTo>
                    <a:pt x="83" y="67"/>
                    <a:pt x="84" y="74"/>
                    <a:pt x="84" y="80"/>
                  </a:cubicBezTo>
                  <a:cubicBezTo>
                    <a:pt x="84" y="135"/>
                    <a:pt x="84" y="135"/>
                    <a:pt x="84" y="135"/>
                  </a:cubicBezTo>
                  <a:lnTo>
                    <a:pt x="59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4">
              <a:extLst>
                <a:ext uri="{FF2B5EF4-FFF2-40B4-BE49-F238E27FC236}">
                  <a16:creationId xmlns:a16="http://schemas.microsoft.com/office/drawing/2014/main" id="{D3D1BB3D-6AD6-4BE1-893D-EBCB285005E9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372438" y="1406980"/>
              <a:ext cx="16998" cy="91524"/>
            </a:xfrm>
            <a:custGeom>
              <a:avLst/>
              <a:gdLst>
                <a:gd name="T0" fmla="*/ 0 w 13"/>
                <a:gd name="T1" fmla="*/ 70 h 70"/>
                <a:gd name="T2" fmla="*/ 0 w 13"/>
                <a:gd name="T3" fmla="*/ 6 h 70"/>
                <a:gd name="T4" fmla="*/ 13 w 13"/>
                <a:gd name="T5" fmla="*/ 0 h 70"/>
                <a:gd name="T6" fmla="*/ 13 w 13"/>
                <a:gd name="T7" fmla="*/ 70 h 70"/>
                <a:gd name="T8" fmla="*/ 0 w 13"/>
                <a:gd name="T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70">
                  <a:moveTo>
                    <a:pt x="0" y="70"/>
                  </a:moveTo>
                  <a:lnTo>
                    <a:pt x="0" y="6"/>
                  </a:lnTo>
                  <a:lnTo>
                    <a:pt x="13" y="0"/>
                  </a:lnTo>
                  <a:lnTo>
                    <a:pt x="13" y="70"/>
                  </a:lnTo>
                  <a:lnTo>
                    <a:pt x="0" y="7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9" name="Freeform 15">
              <a:extLst>
                <a:ext uri="{FF2B5EF4-FFF2-40B4-BE49-F238E27FC236}">
                  <a16:creationId xmlns:a16="http://schemas.microsoft.com/office/drawing/2014/main" id="{98B7DF92-85DC-454B-9A4B-F9A35E6A3C3A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10403818" y="1430515"/>
              <a:ext cx="57529" cy="69297"/>
            </a:xfrm>
            <a:custGeom>
              <a:avLst/>
              <a:gdLst>
                <a:gd name="T0" fmla="*/ 58 w 83"/>
                <a:gd name="T1" fmla="*/ 99 h 101"/>
                <a:gd name="T2" fmla="*/ 58 w 83"/>
                <a:gd name="T3" fmla="*/ 93 h 101"/>
                <a:gd name="T4" fmla="*/ 54 w 83"/>
                <a:gd name="T5" fmla="*/ 96 h 101"/>
                <a:gd name="T6" fmla="*/ 49 w 83"/>
                <a:gd name="T7" fmla="*/ 99 h 101"/>
                <a:gd name="T8" fmla="*/ 42 w 83"/>
                <a:gd name="T9" fmla="*/ 101 h 101"/>
                <a:gd name="T10" fmla="*/ 36 w 83"/>
                <a:gd name="T11" fmla="*/ 101 h 101"/>
                <a:gd name="T12" fmla="*/ 23 w 83"/>
                <a:gd name="T13" fmla="*/ 99 h 101"/>
                <a:gd name="T14" fmla="*/ 11 w 83"/>
                <a:gd name="T15" fmla="*/ 93 h 101"/>
                <a:gd name="T16" fmla="*/ 3 w 83"/>
                <a:gd name="T17" fmla="*/ 82 h 101"/>
                <a:gd name="T18" fmla="*/ 0 w 83"/>
                <a:gd name="T19" fmla="*/ 67 h 101"/>
                <a:gd name="T20" fmla="*/ 3 w 83"/>
                <a:gd name="T21" fmla="*/ 53 h 101"/>
                <a:gd name="T22" fmla="*/ 11 w 83"/>
                <a:gd name="T23" fmla="*/ 42 h 101"/>
                <a:gd name="T24" fmla="*/ 24 w 83"/>
                <a:gd name="T25" fmla="*/ 36 h 101"/>
                <a:gd name="T26" fmla="*/ 39 w 83"/>
                <a:gd name="T27" fmla="*/ 34 h 101"/>
                <a:gd name="T28" fmla="*/ 50 w 83"/>
                <a:gd name="T29" fmla="*/ 36 h 101"/>
                <a:gd name="T30" fmla="*/ 58 w 83"/>
                <a:gd name="T31" fmla="*/ 38 h 101"/>
                <a:gd name="T32" fmla="*/ 58 w 83"/>
                <a:gd name="T33" fmla="*/ 33 h 101"/>
                <a:gd name="T34" fmla="*/ 54 w 83"/>
                <a:gd name="T35" fmla="*/ 25 h 101"/>
                <a:gd name="T36" fmla="*/ 44 w 83"/>
                <a:gd name="T37" fmla="*/ 21 h 101"/>
                <a:gd name="T38" fmla="*/ 30 w 83"/>
                <a:gd name="T39" fmla="*/ 22 h 101"/>
                <a:gd name="T40" fmla="*/ 17 w 83"/>
                <a:gd name="T41" fmla="*/ 27 h 101"/>
                <a:gd name="T42" fmla="*/ 7 w 83"/>
                <a:gd name="T43" fmla="*/ 10 h 101"/>
                <a:gd name="T44" fmla="*/ 25 w 83"/>
                <a:gd name="T45" fmla="*/ 2 h 101"/>
                <a:gd name="T46" fmla="*/ 44 w 83"/>
                <a:gd name="T47" fmla="*/ 0 h 101"/>
                <a:gd name="T48" fmla="*/ 60 w 83"/>
                <a:gd name="T49" fmla="*/ 2 h 101"/>
                <a:gd name="T50" fmla="*/ 72 w 83"/>
                <a:gd name="T51" fmla="*/ 9 h 101"/>
                <a:gd name="T52" fmla="*/ 80 w 83"/>
                <a:gd name="T53" fmla="*/ 19 h 101"/>
                <a:gd name="T54" fmla="*/ 83 w 83"/>
                <a:gd name="T55" fmla="*/ 34 h 101"/>
                <a:gd name="T56" fmla="*/ 83 w 83"/>
                <a:gd name="T57" fmla="*/ 99 h 101"/>
                <a:gd name="T58" fmla="*/ 58 w 83"/>
                <a:gd name="T59" fmla="*/ 99 h 101"/>
                <a:gd name="T60" fmla="*/ 58 w 83"/>
                <a:gd name="T61" fmla="*/ 58 h 101"/>
                <a:gd name="T62" fmla="*/ 54 w 83"/>
                <a:gd name="T63" fmla="*/ 57 h 101"/>
                <a:gd name="T64" fmla="*/ 51 w 83"/>
                <a:gd name="T65" fmla="*/ 55 h 101"/>
                <a:gd name="T66" fmla="*/ 46 w 83"/>
                <a:gd name="T67" fmla="*/ 55 h 101"/>
                <a:gd name="T68" fmla="*/ 40 w 83"/>
                <a:gd name="T69" fmla="*/ 54 h 101"/>
                <a:gd name="T70" fmla="*/ 29 w 83"/>
                <a:gd name="T71" fmla="*/ 58 h 101"/>
                <a:gd name="T72" fmla="*/ 25 w 83"/>
                <a:gd name="T73" fmla="*/ 67 h 101"/>
                <a:gd name="T74" fmla="*/ 26 w 83"/>
                <a:gd name="T75" fmla="*/ 71 h 101"/>
                <a:gd name="T76" fmla="*/ 28 w 83"/>
                <a:gd name="T77" fmla="*/ 76 h 101"/>
                <a:gd name="T78" fmla="*/ 33 w 83"/>
                <a:gd name="T79" fmla="*/ 78 h 101"/>
                <a:gd name="T80" fmla="*/ 40 w 83"/>
                <a:gd name="T81" fmla="*/ 80 h 101"/>
                <a:gd name="T82" fmla="*/ 46 w 83"/>
                <a:gd name="T83" fmla="*/ 79 h 101"/>
                <a:gd name="T84" fmla="*/ 51 w 83"/>
                <a:gd name="T85" fmla="*/ 77 h 101"/>
                <a:gd name="T86" fmla="*/ 55 w 83"/>
                <a:gd name="T87" fmla="*/ 74 h 101"/>
                <a:gd name="T88" fmla="*/ 58 w 83"/>
                <a:gd name="T89" fmla="*/ 71 h 101"/>
                <a:gd name="T90" fmla="*/ 58 w 83"/>
                <a:gd name="T91" fmla="*/ 5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83" h="101">
                  <a:moveTo>
                    <a:pt x="58" y="99"/>
                  </a:moveTo>
                  <a:cubicBezTo>
                    <a:pt x="58" y="93"/>
                    <a:pt x="58" y="93"/>
                    <a:pt x="58" y="93"/>
                  </a:cubicBezTo>
                  <a:cubicBezTo>
                    <a:pt x="57" y="94"/>
                    <a:pt x="55" y="95"/>
                    <a:pt x="54" y="96"/>
                  </a:cubicBezTo>
                  <a:cubicBezTo>
                    <a:pt x="52" y="97"/>
                    <a:pt x="51" y="98"/>
                    <a:pt x="49" y="99"/>
                  </a:cubicBezTo>
                  <a:cubicBezTo>
                    <a:pt x="47" y="100"/>
                    <a:pt x="44" y="100"/>
                    <a:pt x="42" y="101"/>
                  </a:cubicBezTo>
                  <a:cubicBezTo>
                    <a:pt x="40" y="101"/>
                    <a:pt x="38" y="101"/>
                    <a:pt x="36" y="101"/>
                  </a:cubicBezTo>
                  <a:cubicBezTo>
                    <a:pt x="31" y="101"/>
                    <a:pt x="27" y="100"/>
                    <a:pt x="23" y="99"/>
                  </a:cubicBezTo>
                  <a:cubicBezTo>
                    <a:pt x="18" y="98"/>
                    <a:pt x="14" y="96"/>
                    <a:pt x="11" y="93"/>
                  </a:cubicBezTo>
                  <a:cubicBezTo>
                    <a:pt x="8" y="90"/>
                    <a:pt x="5" y="86"/>
                    <a:pt x="3" y="82"/>
                  </a:cubicBezTo>
                  <a:cubicBezTo>
                    <a:pt x="1" y="78"/>
                    <a:pt x="0" y="73"/>
                    <a:pt x="0" y="67"/>
                  </a:cubicBezTo>
                  <a:cubicBezTo>
                    <a:pt x="0" y="61"/>
                    <a:pt x="1" y="57"/>
                    <a:pt x="3" y="53"/>
                  </a:cubicBezTo>
                  <a:cubicBezTo>
                    <a:pt x="5" y="48"/>
                    <a:pt x="8" y="45"/>
                    <a:pt x="11" y="42"/>
                  </a:cubicBezTo>
                  <a:cubicBezTo>
                    <a:pt x="15" y="40"/>
                    <a:pt x="19" y="38"/>
                    <a:pt x="24" y="36"/>
                  </a:cubicBezTo>
                  <a:cubicBezTo>
                    <a:pt x="28" y="35"/>
                    <a:pt x="33" y="34"/>
                    <a:pt x="39" y="34"/>
                  </a:cubicBezTo>
                  <a:cubicBezTo>
                    <a:pt x="43" y="34"/>
                    <a:pt x="47" y="35"/>
                    <a:pt x="50" y="36"/>
                  </a:cubicBezTo>
                  <a:cubicBezTo>
                    <a:pt x="53" y="36"/>
                    <a:pt x="56" y="37"/>
                    <a:pt x="58" y="38"/>
                  </a:cubicBezTo>
                  <a:cubicBezTo>
                    <a:pt x="58" y="33"/>
                    <a:pt x="58" y="33"/>
                    <a:pt x="58" y="33"/>
                  </a:cubicBezTo>
                  <a:cubicBezTo>
                    <a:pt x="58" y="30"/>
                    <a:pt x="56" y="27"/>
                    <a:pt x="54" y="25"/>
                  </a:cubicBezTo>
                  <a:cubicBezTo>
                    <a:pt x="52" y="22"/>
                    <a:pt x="48" y="21"/>
                    <a:pt x="44" y="21"/>
                  </a:cubicBezTo>
                  <a:cubicBezTo>
                    <a:pt x="38" y="21"/>
                    <a:pt x="33" y="21"/>
                    <a:pt x="30" y="22"/>
                  </a:cubicBezTo>
                  <a:cubicBezTo>
                    <a:pt x="26" y="23"/>
                    <a:pt x="22" y="25"/>
                    <a:pt x="17" y="27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14" y="6"/>
                    <a:pt x="19" y="4"/>
                    <a:pt x="25" y="2"/>
                  </a:cubicBezTo>
                  <a:cubicBezTo>
                    <a:pt x="30" y="1"/>
                    <a:pt x="37" y="0"/>
                    <a:pt x="44" y="0"/>
                  </a:cubicBezTo>
                  <a:cubicBezTo>
                    <a:pt x="50" y="0"/>
                    <a:pt x="55" y="1"/>
                    <a:pt x="60" y="2"/>
                  </a:cubicBezTo>
                  <a:cubicBezTo>
                    <a:pt x="65" y="4"/>
                    <a:pt x="69" y="6"/>
                    <a:pt x="72" y="9"/>
                  </a:cubicBezTo>
                  <a:cubicBezTo>
                    <a:pt x="76" y="12"/>
                    <a:pt x="79" y="15"/>
                    <a:pt x="80" y="19"/>
                  </a:cubicBezTo>
                  <a:cubicBezTo>
                    <a:pt x="82" y="24"/>
                    <a:pt x="83" y="29"/>
                    <a:pt x="83" y="34"/>
                  </a:cubicBezTo>
                  <a:cubicBezTo>
                    <a:pt x="83" y="99"/>
                    <a:pt x="83" y="99"/>
                    <a:pt x="83" y="99"/>
                  </a:cubicBezTo>
                  <a:lnTo>
                    <a:pt x="58" y="99"/>
                  </a:lnTo>
                  <a:close/>
                  <a:moveTo>
                    <a:pt x="58" y="58"/>
                  </a:moveTo>
                  <a:cubicBezTo>
                    <a:pt x="57" y="58"/>
                    <a:pt x="55" y="57"/>
                    <a:pt x="54" y="57"/>
                  </a:cubicBezTo>
                  <a:cubicBezTo>
                    <a:pt x="53" y="56"/>
                    <a:pt x="52" y="56"/>
                    <a:pt x="51" y="55"/>
                  </a:cubicBezTo>
                  <a:cubicBezTo>
                    <a:pt x="49" y="55"/>
                    <a:pt x="48" y="55"/>
                    <a:pt x="46" y="55"/>
                  </a:cubicBezTo>
                  <a:cubicBezTo>
                    <a:pt x="44" y="54"/>
                    <a:pt x="42" y="54"/>
                    <a:pt x="40" y="54"/>
                  </a:cubicBezTo>
                  <a:cubicBezTo>
                    <a:pt x="35" y="54"/>
                    <a:pt x="31" y="55"/>
                    <a:pt x="29" y="58"/>
                  </a:cubicBezTo>
                  <a:cubicBezTo>
                    <a:pt x="26" y="60"/>
                    <a:pt x="25" y="63"/>
                    <a:pt x="25" y="67"/>
                  </a:cubicBezTo>
                  <a:cubicBezTo>
                    <a:pt x="25" y="68"/>
                    <a:pt x="25" y="70"/>
                    <a:pt x="26" y="71"/>
                  </a:cubicBezTo>
                  <a:cubicBezTo>
                    <a:pt x="26" y="73"/>
                    <a:pt x="27" y="74"/>
                    <a:pt x="28" y="76"/>
                  </a:cubicBezTo>
                  <a:cubicBezTo>
                    <a:pt x="30" y="77"/>
                    <a:pt x="31" y="78"/>
                    <a:pt x="33" y="78"/>
                  </a:cubicBezTo>
                  <a:cubicBezTo>
                    <a:pt x="35" y="79"/>
                    <a:pt x="37" y="80"/>
                    <a:pt x="40" y="80"/>
                  </a:cubicBezTo>
                  <a:cubicBezTo>
                    <a:pt x="42" y="80"/>
                    <a:pt x="44" y="79"/>
                    <a:pt x="46" y="79"/>
                  </a:cubicBezTo>
                  <a:cubicBezTo>
                    <a:pt x="48" y="78"/>
                    <a:pt x="49" y="78"/>
                    <a:pt x="51" y="77"/>
                  </a:cubicBezTo>
                  <a:cubicBezTo>
                    <a:pt x="52" y="76"/>
                    <a:pt x="54" y="75"/>
                    <a:pt x="55" y="74"/>
                  </a:cubicBezTo>
                  <a:cubicBezTo>
                    <a:pt x="56" y="73"/>
                    <a:pt x="57" y="72"/>
                    <a:pt x="58" y="71"/>
                  </a:cubicBezTo>
                  <a:lnTo>
                    <a:pt x="58" y="5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16">
              <a:extLst>
                <a:ext uri="{FF2B5EF4-FFF2-40B4-BE49-F238E27FC236}">
                  <a16:creationId xmlns:a16="http://schemas.microsoft.com/office/drawing/2014/main" id="{42944BA6-F9C0-48FA-B96D-E1DF6E30FA74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477037" y="1430515"/>
              <a:ext cx="57529" cy="67989"/>
            </a:xfrm>
            <a:custGeom>
              <a:avLst/>
              <a:gdLst>
                <a:gd name="T0" fmla="*/ 59 w 84"/>
                <a:gd name="T1" fmla="*/ 99 h 99"/>
                <a:gd name="T2" fmla="*/ 59 w 84"/>
                <a:gd name="T3" fmla="*/ 47 h 99"/>
                <a:gd name="T4" fmla="*/ 55 w 84"/>
                <a:gd name="T5" fmla="*/ 30 h 99"/>
                <a:gd name="T6" fmla="*/ 42 w 84"/>
                <a:gd name="T7" fmla="*/ 24 h 99"/>
                <a:gd name="T8" fmla="*/ 35 w 84"/>
                <a:gd name="T9" fmla="*/ 25 h 99"/>
                <a:gd name="T10" fmla="*/ 30 w 84"/>
                <a:gd name="T11" fmla="*/ 29 h 99"/>
                <a:gd name="T12" fmla="*/ 27 w 84"/>
                <a:gd name="T13" fmla="*/ 35 h 99"/>
                <a:gd name="T14" fmla="*/ 26 w 84"/>
                <a:gd name="T15" fmla="*/ 46 h 99"/>
                <a:gd name="T16" fmla="*/ 26 w 84"/>
                <a:gd name="T17" fmla="*/ 99 h 99"/>
                <a:gd name="T18" fmla="*/ 0 w 84"/>
                <a:gd name="T19" fmla="*/ 99 h 99"/>
                <a:gd name="T20" fmla="*/ 0 w 84"/>
                <a:gd name="T21" fmla="*/ 2 h 99"/>
                <a:gd name="T22" fmla="*/ 26 w 84"/>
                <a:gd name="T23" fmla="*/ 2 h 99"/>
                <a:gd name="T24" fmla="*/ 26 w 84"/>
                <a:gd name="T25" fmla="*/ 8 h 99"/>
                <a:gd name="T26" fmla="*/ 30 w 84"/>
                <a:gd name="T27" fmla="*/ 5 h 99"/>
                <a:gd name="T28" fmla="*/ 35 w 84"/>
                <a:gd name="T29" fmla="*/ 2 h 99"/>
                <a:gd name="T30" fmla="*/ 41 w 84"/>
                <a:gd name="T31" fmla="*/ 1 h 99"/>
                <a:gd name="T32" fmla="*/ 48 w 84"/>
                <a:gd name="T33" fmla="*/ 0 h 99"/>
                <a:gd name="T34" fmla="*/ 64 w 84"/>
                <a:gd name="T35" fmla="*/ 3 h 99"/>
                <a:gd name="T36" fmla="*/ 76 w 84"/>
                <a:gd name="T37" fmla="*/ 12 h 99"/>
                <a:gd name="T38" fmla="*/ 82 w 84"/>
                <a:gd name="T39" fmla="*/ 26 h 99"/>
                <a:gd name="T40" fmla="*/ 84 w 84"/>
                <a:gd name="T41" fmla="*/ 44 h 99"/>
                <a:gd name="T42" fmla="*/ 84 w 84"/>
                <a:gd name="T43" fmla="*/ 99 h 99"/>
                <a:gd name="T44" fmla="*/ 59 w 84"/>
                <a:gd name="T45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4" h="99">
                  <a:moveTo>
                    <a:pt x="59" y="99"/>
                  </a:moveTo>
                  <a:cubicBezTo>
                    <a:pt x="59" y="47"/>
                    <a:pt x="59" y="47"/>
                    <a:pt x="59" y="47"/>
                  </a:cubicBezTo>
                  <a:cubicBezTo>
                    <a:pt x="59" y="39"/>
                    <a:pt x="58" y="33"/>
                    <a:pt x="55" y="30"/>
                  </a:cubicBezTo>
                  <a:cubicBezTo>
                    <a:pt x="53" y="26"/>
                    <a:pt x="48" y="24"/>
                    <a:pt x="42" y="24"/>
                  </a:cubicBezTo>
                  <a:cubicBezTo>
                    <a:pt x="40" y="24"/>
                    <a:pt x="37" y="24"/>
                    <a:pt x="35" y="25"/>
                  </a:cubicBezTo>
                  <a:cubicBezTo>
                    <a:pt x="33" y="26"/>
                    <a:pt x="31" y="27"/>
                    <a:pt x="30" y="29"/>
                  </a:cubicBezTo>
                  <a:cubicBezTo>
                    <a:pt x="29" y="30"/>
                    <a:pt x="28" y="33"/>
                    <a:pt x="27" y="35"/>
                  </a:cubicBezTo>
                  <a:cubicBezTo>
                    <a:pt x="26" y="38"/>
                    <a:pt x="26" y="42"/>
                    <a:pt x="26" y="46"/>
                  </a:cubicBezTo>
                  <a:cubicBezTo>
                    <a:pt x="26" y="99"/>
                    <a:pt x="26" y="99"/>
                    <a:pt x="26" y="99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7" y="7"/>
                    <a:pt x="28" y="6"/>
                    <a:pt x="30" y="5"/>
                  </a:cubicBezTo>
                  <a:cubicBezTo>
                    <a:pt x="31" y="4"/>
                    <a:pt x="33" y="3"/>
                    <a:pt x="35" y="2"/>
                  </a:cubicBezTo>
                  <a:cubicBezTo>
                    <a:pt x="37" y="2"/>
                    <a:pt x="39" y="1"/>
                    <a:pt x="41" y="1"/>
                  </a:cubicBezTo>
                  <a:cubicBezTo>
                    <a:pt x="44" y="0"/>
                    <a:pt x="46" y="0"/>
                    <a:pt x="48" y="0"/>
                  </a:cubicBezTo>
                  <a:cubicBezTo>
                    <a:pt x="55" y="0"/>
                    <a:pt x="60" y="1"/>
                    <a:pt x="64" y="3"/>
                  </a:cubicBezTo>
                  <a:cubicBezTo>
                    <a:pt x="69" y="5"/>
                    <a:pt x="73" y="8"/>
                    <a:pt x="76" y="12"/>
                  </a:cubicBezTo>
                  <a:cubicBezTo>
                    <a:pt x="79" y="16"/>
                    <a:pt x="81" y="20"/>
                    <a:pt x="82" y="26"/>
                  </a:cubicBezTo>
                  <a:cubicBezTo>
                    <a:pt x="84" y="31"/>
                    <a:pt x="84" y="38"/>
                    <a:pt x="84" y="44"/>
                  </a:cubicBezTo>
                  <a:cubicBezTo>
                    <a:pt x="84" y="99"/>
                    <a:pt x="84" y="99"/>
                    <a:pt x="84" y="99"/>
                  </a:cubicBezTo>
                  <a:lnTo>
                    <a:pt x="59" y="9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21" name="Freeform 17">
              <a:extLst>
                <a:ext uri="{FF2B5EF4-FFF2-40B4-BE49-F238E27FC236}">
                  <a16:creationId xmlns:a16="http://schemas.microsoft.com/office/drawing/2014/main" id="{AD76CDEE-75C6-43F6-B367-6EF14BC3B7FE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10547642" y="1406980"/>
              <a:ext cx="57529" cy="92832"/>
            </a:xfrm>
            <a:custGeom>
              <a:avLst/>
              <a:gdLst>
                <a:gd name="T0" fmla="*/ 58 w 84"/>
                <a:gd name="T1" fmla="*/ 135 h 137"/>
                <a:gd name="T2" fmla="*/ 58 w 84"/>
                <a:gd name="T3" fmla="*/ 129 h 137"/>
                <a:gd name="T4" fmla="*/ 55 w 84"/>
                <a:gd name="T5" fmla="*/ 132 h 137"/>
                <a:gd name="T6" fmla="*/ 50 w 84"/>
                <a:gd name="T7" fmla="*/ 135 h 137"/>
                <a:gd name="T8" fmla="*/ 45 w 84"/>
                <a:gd name="T9" fmla="*/ 137 h 137"/>
                <a:gd name="T10" fmla="*/ 38 w 84"/>
                <a:gd name="T11" fmla="*/ 137 h 137"/>
                <a:gd name="T12" fmla="*/ 23 w 84"/>
                <a:gd name="T13" fmla="*/ 134 h 137"/>
                <a:gd name="T14" fmla="*/ 11 w 84"/>
                <a:gd name="T15" fmla="*/ 125 h 137"/>
                <a:gd name="T16" fmla="*/ 3 w 84"/>
                <a:gd name="T17" fmla="*/ 109 h 137"/>
                <a:gd name="T18" fmla="*/ 0 w 84"/>
                <a:gd name="T19" fmla="*/ 85 h 137"/>
                <a:gd name="T20" fmla="*/ 3 w 84"/>
                <a:gd name="T21" fmla="*/ 65 h 137"/>
                <a:gd name="T22" fmla="*/ 10 w 84"/>
                <a:gd name="T23" fmla="*/ 50 h 137"/>
                <a:gd name="T24" fmla="*/ 22 w 84"/>
                <a:gd name="T25" fmla="*/ 40 h 137"/>
                <a:gd name="T26" fmla="*/ 38 w 84"/>
                <a:gd name="T27" fmla="*/ 36 h 137"/>
                <a:gd name="T28" fmla="*/ 44 w 84"/>
                <a:gd name="T29" fmla="*/ 36 h 137"/>
                <a:gd name="T30" fmla="*/ 50 w 84"/>
                <a:gd name="T31" fmla="*/ 38 h 137"/>
                <a:gd name="T32" fmla="*/ 55 w 84"/>
                <a:gd name="T33" fmla="*/ 41 h 137"/>
                <a:gd name="T34" fmla="*/ 58 w 84"/>
                <a:gd name="T35" fmla="*/ 44 h 137"/>
                <a:gd name="T36" fmla="*/ 58 w 84"/>
                <a:gd name="T37" fmla="*/ 13 h 137"/>
                <a:gd name="T38" fmla="*/ 84 w 84"/>
                <a:gd name="T39" fmla="*/ 0 h 137"/>
                <a:gd name="T40" fmla="*/ 84 w 84"/>
                <a:gd name="T41" fmla="*/ 135 h 137"/>
                <a:gd name="T42" fmla="*/ 58 w 84"/>
                <a:gd name="T43" fmla="*/ 135 h 137"/>
                <a:gd name="T44" fmla="*/ 58 w 84"/>
                <a:gd name="T45" fmla="*/ 68 h 137"/>
                <a:gd name="T46" fmla="*/ 55 w 84"/>
                <a:gd name="T47" fmla="*/ 65 h 137"/>
                <a:gd name="T48" fmla="*/ 52 w 84"/>
                <a:gd name="T49" fmla="*/ 62 h 137"/>
                <a:gd name="T50" fmla="*/ 47 w 84"/>
                <a:gd name="T51" fmla="*/ 61 h 137"/>
                <a:gd name="T52" fmla="*/ 41 w 84"/>
                <a:gd name="T53" fmla="*/ 60 h 137"/>
                <a:gd name="T54" fmla="*/ 30 w 84"/>
                <a:gd name="T55" fmla="*/ 66 h 137"/>
                <a:gd name="T56" fmla="*/ 26 w 84"/>
                <a:gd name="T57" fmla="*/ 85 h 137"/>
                <a:gd name="T58" fmla="*/ 27 w 84"/>
                <a:gd name="T59" fmla="*/ 98 h 137"/>
                <a:gd name="T60" fmla="*/ 31 w 84"/>
                <a:gd name="T61" fmla="*/ 106 h 137"/>
                <a:gd name="T62" fmla="*/ 36 w 84"/>
                <a:gd name="T63" fmla="*/ 111 h 137"/>
                <a:gd name="T64" fmla="*/ 43 w 84"/>
                <a:gd name="T65" fmla="*/ 113 h 137"/>
                <a:gd name="T66" fmla="*/ 48 w 84"/>
                <a:gd name="T67" fmla="*/ 112 h 137"/>
                <a:gd name="T68" fmla="*/ 52 w 84"/>
                <a:gd name="T69" fmla="*/ 111 h 137"/>
                <a:gd name="T70" fmla="*/ 56 w 84"/>
                <a:gd name="T71" fmla="*/ 108 h 137"/>
                <a:gd name="T72" fmla="*/ 58 w 84"/>
                <a:gd name="T73" fmla="*/ 105 h 137"/>
                <a:gd name="T74" fmla="*/ 58 w 84"/>
                <a:gd name="T75" fmla="*/ 68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4" h="137">
                  <a:moveTo>
                    <a:pt x="58" y="135"/>
                  </a:moveTo>
                  <a:cubicBezTo>
                    <a:pt x="58" y="129"/>
                    <a:pt x="58" y="129"/>
                    <a:pt x="58" y="129"/>
                  </a:cubicBezTo>
                  <a:cubicBezTo>
                    <a:pt x="57" y="130"/>
                    <a:pt x="56" y="131"/>
                    <a:pt x="55" y="132"/>
                  </a:cubicBezTo>
                  <a:cubicBezTo>
                    <a:pt x="53" y="133"/>
                    <a:pt x="52" y="134"/>
                    <a:pt x="50" y="135"/>
                  </a:cubicBezTo>
                  <a:cubicBezTo>
                    <a:pt x="48" y="136"/>
                    <a:pt x="47" y="136"/>
                    <a:pt x="45" y="137"/>
                  </a:cubicBezTo>
                  <a:cubicBezTo>
                    <a:pt x="43" y="137"/>
                    <a:pt x="40" y="137"/>
                    <a:pt x="38" y="137"/>
                  </a:cubicBezTo>
                  <a:cubicBezTo>
                    <a:pt x="33" y="137"/>
                    <a:pt x="28" y="136"/>
                    <a:pt x="23" y="134"/>
                  </a:cubicBezTo>
                  <a:cubicBezTo>
                    <a:pt x="19" y="132"/>
                    <a:pt x="15" y="129"/>
                    <a:pt x="11" y="125"/>
                  </a:cubicBezTo>
                  <a:cubicBezTo>
                    <a:pt x="8" y="121"/>
                    <a:pt x="5" y="115"/>
                    <a:pt x="3" y="109"/>
                  </a:cubicBezTo>
                  <a:cubicBezTo>
                    <a:pt x="1" y="102"/>
                    <a:pt x="0" y="94"/>
                    <a:pt x="0" y="85"/>
                  </a:cubicBezTo>
                  <a:cubicBezTo>
                    <a:pt x="0" y="78"/>
                    <a:pt x="1" y="71"/>
                    <a:pt x="3" y="65"/>
                  </a:cubicBezTo>
                  <a:cubicBezTo>
                    <a:pt x="4" y="59"/>
                    <a:pt x="7" y="54"/>
                    <a:pt x="10" y="50"/>
                  </a:cubicBezTo>
                  <a:cubicBezTo>
                    <a:pt x="13" y="45"/>
                    <a:pt x="17" y="42"/>
                    <a:pt x="22" y="40"/>
                  </a:cubicBezTo>
                  <a:cubicBezTo>
                    <a:pt x="27" y="37"/>
                    <a:pt x="32" y="36"/>
                    <a:pt x="38" y="36"/>
                  </a:cubicBezTo>
                  <a:cubicBezTo>
                    <a:pt x="40" y="36"/>
                    <a:pt x="42" y="36"/>
                    <a:pt x="44" y="36"/>
                  </a:cubicBezTo>
                  <a:cubicBezTo>
                    <a:pt x="46" y="37"/>
                    <a:pt x="48" y="37"/>
                    <a:pt x="50" y="38"/>
                  </a:cubicBezTo>
                  <a:cubicBezTo>
                    <a:pt x="52" y="39"/>
                    <a:pt x="53" y="40"/>
                    <a:pt x="55" y="41"/>
                  </a:cubicBezTo>
                  <a:cubicBezTo>
                    <a:pt x="56" y="42"/>
                    <a:pt x="57" y="42"/>
                    <a:pt x="58" y="44"/>
                  </a:cubicBezTo>
                  <a:cubicBezTo>
                    <a:pt x="58" y="13"/>
                    <a:pt x="58" y="13"/>
                    <a:pt x="58" y="13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135"/>
                    <a:pt x="84" y="135"/>
                    <a:pt x="84" y="135"/>
                  </a:cubicBezTo>
                  <a:lnTo>
                    <a:pt x="58" y="135"/>
                  </a:lnTo>
                  <a:close/>
                  <a:moveTo>
                    <a:pt x="58" y="68"/>
                  </a:moveTo>
                  <a:cubicBezTo>
                    <a:pt x="57" y="67"/>
                    <a:pt x="56" y="66"/>
                    <a:pt x="55" y="65"/>
                  </a:cubicBezTo>
                  <a:cubicBezTo>
                    <a:pt x="54" y="64"/>
                    <a:pt x="53" y="63"/>
                    <a:pt x="52" y="62"/>
                  </a:cubicBezTo>
                  <a:cubicBezTo>
                    <a:pt x="50" y="62"/>
                    <a:pt x="49" y="61"/>
                    <a:pt x="47" y="61"/>
                  </a:cubicBezTo>
                  <a:cubicBezTo>
                    <a:pt x="45" y="60"/>
                    <a:pt x="43" y="60"/>
                    <a:pt x="41" y="60"/>
                  </a:cubicBezTo>
                  <a:cubicBezTo>
                    <a:pt x="36" y="60"/>
                    <a:pt x="33" y="62"/>
                    <a:pt x="30" y="66"/>
                  </a:cubicBezTo>
                  <a:cubicBezTo>
                    <a:pt x="27" y="70"/>
                    <a:pt x="26" y="77"/>
                    <a:pt x="26" y="85"/>
                  </a:cubicBezTo>
                  <a:cubicBezTo>
                    <a:pt x="26" y="90"/>
                    <a:pt x="27" y="94"/>
                    <a:pt x="27" y="98"/>
                  </a:cubicBezTo>
                  <a:cubicBezTo>
                    <a:pt x="28" y="101"/>
                    <a:pt x="29" y="104"/>
                    <a:pt x="31" y="106"/>
                  </a:cubicBezTo>
                  <a:cubicBezTo>
                    <a:pt x="32" y="109"/>
                    <a:pt x="34" y="110"/>
                    <a:pt x="36" y="111"/>
                  </a:cubicBezTo>
                  <a:cubicBezTo>
                    <a:pt x="38" y="113"/>
                    <a:pt x="40" y="113"/>
                    <a:pt x="43" y="113"/>
                  </a:cubicBezTo>
                  <a:cubicBezTo>
                    <a:pt x="45" y="113"/>
                    <a:pt x="46" y="113"/>
                    <a:pt x="48" y="112"/>
                  </a:cubicBezTo>
                  <a:cubicBezTo>
                    <a:pt x="50" y="112"/>
                    <a:pt x="51" y="112"/>
                    <a:pt x="52" y="111"/>
                  </a:cubicBezTo>
                  <a:cubicBezTo>
                    <a:pt x="53" y="110"/>
                    <a:pt x="55" y="109"/>
                    <a:pt x="56" y="108"/>
                  </a:cubicBezTo>
                  <a:cubicBezTo>
                    <a:pt x="57" y="107"/>
                    <a:pt x="58" y="106"/>
                    <a:pt x="58" y="105"/>
                  </a:cubicBezTo>
                  <a:lnTo>
                    <a:pt x="58" y="6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22" name="Freeform 18">
              <a:extLst>
                <a:ext uri="{FF2B5EF4-FFF2-40B4-BE49-F238E27FC236}">
                  <a16:creationId xmlns:a16="http://schemas.microsoft.com/office/drawing/2014/main" id="{DACB136F-C6ED-433D-9631-749BCDC77B78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9731769" y="1406980"/>
              <a:ext cx="19613" cy="91524"/>
            </a:xfrm>
            <a:custGeom>
              <a:avLst/>
              <a:gdLst>
                <a:gd name="T0" fmla="*/ 29 w 29"/>
                <a:gd name="T1" fmla="*/ 14 h 134"/>
                <a:gd name="T2" fmla="*/ 28 w 29"/>
                <a:gd name="T3" fmla="*/ 20 h 134"/>
                <a:gd name="T4" fmla="*/ 25 w 29"/>
                <a:gd name="T5" fmla="*/ 25 h 134"/>
                <a:gd name="T6" fmla="*/ 20 w 29"/>
                <a:gd name="T7" fmla="*/ 28 h 134"/>
                <a:gd name="T8" fmla="*/ 15 w 29"/>
                <a:gd name="T9" fmla="*/ 29 h 134"/>
                <a:gd name="T10" fmla="*/ 9 w 29"/>
                <a:gd name="T11" fmla="*/ 28 h 134"/>
                <a:gd name="T12" fmla="*/ 5 w 29"/>
                <a:gd name="T13" fmla="*/ 25 h 134"/>
                <a:gd name="T14" fmla="*/ 1 w 29"/>
                <a:gd name="T15" fmla="*/ 20 h 134"/>
                <a:gd name="T16" fmla="*/ 0 w 29"/>
                <a:gd name="T17" fmla="*/ 14 h 134"/>
                <a:gd name="T18" fmla="*/ 1 w 29"/>
                <a:gd name="T19" fmla="*/ 9 h 134"/>
                <a:gd name="T20" fmla="*/ 5 w 29"/>
                <a:gd name="T21" fmla="*/ 4 h 134"/>
                <a:gd name="T22" fmla="*/ 9 w 29"/>
                <a:gd name="T23" fmla="*/ 1 h 134"/>
                <a:gd name="T24" fmla="*/ 15 w 29"/>
                <a:gd name="T25" fmla="*/ 0 h 134"/>
                <a:gd name="T26" fmla="*/ 20 w 29"/>
                <a:gd name="T27" fmla="*/ 1 h 134"/>
                <a:gd name="T28" fmla="*/ 25 w 29"/>
                <a:gd name="T29" fmla="*/ 4 h 134"/>
                <a:gd name="T30" fmla="*/ 28 w 29"/>
                <a:gd name="T31" fmla="*/ 9 h 134"/>
                <a:gd name="T32" fmla="*/ 29 w 29"/>
                <a:gd name="T33" fmla="*/ 14 h 134"/>
                <a:gd name="T34" fmla="*/ 2 w 29"/>
                <a:gd name="T35" fmla="*/ 134 h 134"/>
                <a:gd name="T36" fmla="*/ 2 w 29"/>
                <a:gd name="T37" fmla="*/ 37 h 134"/>
                <a:gd name="T38" fmla="*/ 28 w 29"/>
                <a:gd name="T39" fmla="*/ 37 h 134"/>
                <a:gd name="T40" fmla="*/ 28 w 29"/>
                <a:gd name="T41" fmla="*/ 134 h 134"/>
                <a:gd name="T42" fmla="*/ 2 w 29"/>
                <a:gd name="T43" fmla="*/ 134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9" h="134">
                  <a:moveTo>
                    <a:pt x="29" y="14"/>
                  </a:moveTo>
                  <a:cubicBezTo>
                    <a:pt x="29" y="16"/>
                    <a:pt x="29" y="18"/>
                    <a:pt x="28" y="20"/>
                  </a:cubicBezTo>
                  <a:cubicBezTo>
                    <a:pt x="28" y="22"/>
                    <a:pt x="26" y="23"/>
                    <a:pt x="25" y="25"/>
                  </a:cubicBezTo>
                  <a:cubicBezTo>
                    <a:pt x="24" y="26"/>
                    <a:pt x="22" y="27"/>
                    <a:pt x="20" y="28"/>
                  </a:cubicBezTo>
                  <a:cubicBezTo>
                    <a:pt x="19" y="29"/>
                    <a:pt x="17" y="29"/>
                    <a:pt x="15" y="29"/>
                  </a:cubicBezTo>
                  <a:cubicBezTo>
                    <a:pt x="13" y="29"/>
                    <a:pt x="11" y="29"/>
                    <a:pt x="9" y="28"/>
                  </a:cubicBezTo>
                  <a:cubicBezTo>
                    <a:pt x="7" y="27"/>
                    <a:pt x="6" y="26"/>
                    <a:pt x="5" y="25"/>
                  </a:cubicBezTo>
                  <a:cubicBezTo>
                    <a:pt x="3" y="23"/>
                    <a:pt x="2" y="22"/>
                    <a:pt x="1" y="20"/>
                  </a:cubicBezTo>
                  <a:cubicBezTo>
                    <a:pt x="1" y="18"/>
                    <a:pt x="0" y="16"/>
                    <a:pt x="0" y="14"/>
                  </a:cubicBezTo>
                  <a:cubicBezTo>
                    <a:pt x="0" y="12"/>
                    <a:pt x="1" y="11"/>
                    <a:pt x="1" y="9"/>
                  </a:cubicBezTo>
                  <a:cubicBezTo>
                    <a:pt x="2" y="7"/>
                    <a:pt x="3" y="5"/>
                    <a:pt x="5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2" y="2"/>
                    <a:pt x="24" y="3"/>
                    <a:pt x="25" y="4"/>
                  </a:cubicBezTo>
                  <a:cubicBezTo>
                    <a:pt x="26" y="5"/>
                    <a:pt x="28" y="7"/>
                    <a:pt x="28" y="9"/>
                  </a:cubicBezTo>
                  <a:cubicBezTo>
                    <a:pt x="29" y="11"/>
                    <a:pt x="29" y="12"/>
                    <a:pt x="29" y="14"/>
                  </a:cubicBezTo>
                  <a:close/>
                  <a:moveTo>
                    <a:pt x="2" y="134"/>
                  </a:moveTo>
                  <a:cubicBezTo>
                    <a:pt x="2" y="37"/>
                    <a:pt x="2" y="37"/>
                    <a:pt x="2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134"/>
                    <a:pt x="28" y="134"/>
                    <a:pt x="28" y="134"/>
                  </a:cubicBezTo>
                  <a:lnTo>
                    <a:pt x="2" y="1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23" name="Freeform 19">
              <a:extLst>
                <a:ext uri="{FF2B5EF4-FFF2-40B4-BE49-F238E27FC236}">
                  <a16:creationId xmlns:a16="http://schemas.microsoft.com/office/drawing/2014/main" id="{922FADCD-4917-47C7-ADDB-1574B3C49CA8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9767071" y="1430515"/>
              <a:ext cx="58837" cy="67989"/>
            </a:xfrm>
            <a:custGeom>
              <a:avLst/>
              <a:gdLst>
                <a:gd name="T0" fmla="*/ 59 w 85"/>
                <a:gd name="T1" fmla="*/ 99 h 99"/>
                <a:gd name="T2" fmla="*/ 59 w 85"/>
                <a:gd name="T3" fmla="*/ 47 h 99"/>
                <a:gd name="T4" fmla="*/ 55 w 85"/>
                <a:gd name="T5" fmla="*/ 30 h 99"/>
                <a:gd name="T6" fmla="*/ 43 w 85"/>
                <a:gd name="T7" fmla="*/ 24 h 99"/>
                <a:gd name="T8" fmla="*/ 35 w 85"/>
                <a:gd name="T9" fmla="*/ 25 h 99"/>
                <a:gd name="T10" fmla="*/ 30 w 85"/>
                <a:gd name="T11" fmla="*/ 29 h 99"/>
                <a:gd name="T12" fmla="*/ 27 w 85"/>
                <a:gd name="T13" fmla="*/ 35 h 99"/>
                <a:gd name="T14" fmla="*/ 26 w 85"/>
                <a:gd name="T15" fmla="*/ 46 h 99"/>
                <a:gd name="T16" fmla="*/ 26 w 85"/>
                <a:gd name="T17" fmla="*/ 99 h 99"/>
                <a:gd name="T18" fmla="*/ 0 w 85"/>
                <a:gd name="T19" fmla="*/ 99 h 99"/>
                <a:gd name="T20" fmla="*/ 0 w 85"/>
                <a:gd name="T21" fmla="*/ 2 h 99"/>
                <a:gd name="T22" fmla="*/ 26 w 85"/>
                <a:gd name="T23" fmla="*/ 2 h 99"/>
                <a:gd name="T24" fmla="*/ 26 w 85"/>
                <a:gd name="T25" fmla="*/ 8 h 99"/>
                <a:gd name="T26" fmla="*/ 30 w 85"/>
                <a:gd name="T27" fmla="*/ 5 h 99"/>
                <a:gd name="T28" fmla="*/ 35 w 85"/>
                <a:gd name="T29" fmla="*/ 2 h 99"/>
                <a:gd name="T30" fmla="*/ 42 w 85"/>
                <a:gd name="T31" fmla="*/ 1 h 99"/>
                <a:gd name="T32" fmla="*/ 49 w 85"/>
                <a:gd name="T33" fmla="*/ 0 h 99"/>
                <a:gd name="T34" fmla="*/ 65 w 85"/>
                <a:gd name="T35" fmla="*/ 3 h 99"/>
                <a:gd name="T36" fmla="*/ 76 w 85"/>
                <a:gd name="T37" fmla="*/ 12 h 99"/>
                <a:gd name="T38" fmla="*/ 82 w 85"/>
                <a:gd name="T39" fmla="*/ 26 h 99"/>
                <a:gd name="T40" fmla="*/ 85 w 85"/>
                <a:gd name="T41" fmla="*/ 44 h 99"/>
                <a:gd name="T42" fmla="*/ 85 w 85"/>
                <a:gd name="T43" fmla="*/ 99 h 99"/>
                <a:gd name="T44" fmla="*/ 59 w 85"/>
                <a:gd name="T45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5" h="99">
                  <a:moveTo>
                    <a:pt x="59" y="99"/>
                  </a:moveTo>
                  <a:cubicBezTo>
                    <a:pt x="59" y="47"/>
                    <a:pt x="59" y="47"/>
                    <a:pt x="59" y="47"/>
                  </a:cubicBezTo>
                  <a:cubicBezTo>
                    <a:pt x="59" y="39"/>
                    <a:pt x="58" y="33"/>
                    <a:pt x="55" y="30"/>
                  </a:cubicBezTo>
                  <a:cubicBezTo>
                    <a:pt x="53" y="26"/>
                    <a:pt x="49" y="24"/>
                    <a:pt x="43" y="24"/>
                  </a:cubicBezTo>
                  <a:cubicBezTo>
                    <a:pt x="40" y="24"/>
                    <a:pt x="38" y="24"/>
                    <a:pt x="35" y="25"/>
                  </a:cubicBezTo>
                  <a:cubicBezTo>
                    <a:pt x="33" y="26"/>
                    <a:pt x="32" y="27"/>
                    <a:pt x="30" y="29"/>
                  </a:cubicBezTo>
                  <a:cubicBezTo>
                    <a:pt x="29" y="30"/>
                    <a:pt x="28" y="33"/>
                    <a:pt x="27" y="35"/>
                  </a:cubicBezTo>
                  <a:cubicBezTo>
                    <a:pt x="26" y="38"/>
                    <a:pt x="26" y="42"/>
                    <a:pt x="26" y="46"/>
                  </a:cubicBezTo>
                  <a:cubicBezTo>
                    <a:pt x="26" y="99"/>
                    <a:pt x="26" y="99"/>
                    <a:pt x="26" y="99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7" y="7"/>
                    <a:pt x="28" y="6"/>
                    <a:pt x="30" y="5"/>
                  </a:cubicBezTo>
                  <a:cubicBezTo>
                    <a:pt x="31" y="4"/>
                    <a:pt x="33" y="3"/>
                    <a:pt x="35" y="2"/>
                  </a:cubicBezTo>
                  <a:cubicBezTo>
                    <a:pt x="37" y="2"/>
                    <a:pt x="39" y="1"/>
                    <a:pt x="42" y="1"/>
                  </a:cubicBezTo>
                  <a:cubicBezTo>
                    <a:pt x="44" y="0"/>
                    <a:pt x="46" y="0"/>
                    <a:pt x="49" y="0"/>
                  </a:cubicBezTo>
                  <a:cubicBezTo>
                    <a:pt x="55" y="0"/>
                    <a:pt x="60" y="1"/>
                    <a:pt x="65" y="3"/>
                  </a:cubicBezTo>
                  <a:cubicBezTo>
                    <a:pt x="69" y="5"/>
                    <a:pt x="73" y="8"/>
                    <a:pt x="76" y="12"/>
                  </a:cubicBezTo>
                  <a:cubicBezTo>
                    <a:pt x="79" y="16"/>
                    <a:pt x="81" y="20"/>
                    <a:pt x="82" y="26"/>
                  </a:cubicBezTo>
                  <a:cubicBezTo>
                    <a:pt x="84" y="31"/>
                    <a:pt x="85" y="38"/>
                    <a:pt x="85" y="44"/>
                  </a:cubicBezTo>
                  <a:cubicBezTo>
                    <a:pt x="85" y="99"/>
                    <a:pt x="85" y="99"/>
                    <a:pt x="85" y="99"/>
                  </a:cubicBezTo>
                  <a:lnTo>
                    <a:pt x="59" y="9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20">
              <a:extLst>
                <a:ext uri="{FF2B5EF4-FFF2-40B4-BE49-F238E27FC236}">
                  <a16:creationId xmlns:a16="http://schemas.microsoft.com/office/drawing/2014/main" id="{EEA96631-7CCE-49D6-A700-D76FF986E47F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9880823" y="1410902"/>
              <a:ext cx="71912" cy="87602"/>
            </a:xfrm>
            <a:custGeom>
              <a:avLst/>
              <a:gdLst>
                <a:gd name="T0" fmla="*/ 105 w 105"/>
                <a:gd name="T1" fmla="*/ 64 h 129"/>
                <a:gd name="T2" fmla="*/ 103 w 105"/>
                <a:gd name="T3" fmla="*/ 85 h 129"/>
                <a:gd name="T4" fmla="*/ 96 w 105"/>
                <a:gd name="T5" fmla="*/ 101 h 129"/>
                <a:gd name="T6" fmla="*/ 85 w 105"/>
                <a:gd name="T7" fmla="*/ 114 h 129"/>
                <a:gd name="T8" fmla="*/ 71 w 105"/>
                <a:gd name="T9" fmla="*/ 122 h 129"/>
                <a:gd name="T10" fmla="*/ 55 w 105"/>
                <a:gd name="T11" fmla="*/ 128 h 129"/>
                <a:gd name="T12" fmla="*/ 39 w 105"/>
                <a:gd name="T13" fmla="*/ 129 h 129"/>
                <a:gd name="T14" fmla="*/ 0 w 105"/>
                <a:gd name="T15" fmla="*/ 129 h 129"/>
                <a:gd name="T16" fmla="*/ 0 w 105"/>
                <a:gd name="T17" fmla="*/ 0 h 129"/>
                <a:gd name="T18" fmla="*/ 41 w 105"/>
                <a:gd name="T19" fmla="*/ 0 h 129"/>
                <a:gd name="T20" fmla="*/ 67 w 105"/>
                <a:gd name="T21" fmla="*/ 3 h 129"/>
                <a:gd name="T22" fmla="*/ 87 w 105"/>
                <a:gd name="T23" fmla="*/ 14 h 129"/>
                <a:gd name="T24" fmla="*/ 100 w 105"/>
                <a:gd name="T25" fmla="*/ 34 h 129"/>
                <a:gd name="T26" fmla="*/ 105 w 105"/>
                <a:gd name="T27" fmla="*/ 64 h 129"/>
                <a:gd name="T28" fmla="*/ 79 w 105"/>
                <a:gd name="T29" fmla="*/ 64 h 129"/>
                <a:gd name="T30" fmla="*/ 76 w 105"/>
                <a:gd name="T31" fmla="*/ 47 h 129"/>
                <a:gd name="T32" fmla="*/ 70 w 105"/>
                <a:gd name="T33" fmla="*/ 35 h 129"/>
                <a:gd name="T34" fmla="*/ 58 w 105"/>
                <a:gd name="T35" fmla="*/ 27 h 129"/>
                <a:gd name="T36" fmla="*/ 40 w 105"/>
                <a:gd name="T37" fmla="*/ 25 h 129"/>
                <a:gd name="T38" fmla="*/ 26 w 105"/>
                <a:gd name="T39" fmla="*/ 25 h 129"/>
                <a:gd name="T40" fmla="*/ 26 w 105"/>
                <a:gd name="T41" fmla="*/ 104 h 129"/>
                <a:gd name="T42" fmla="*/ 39 w 105"/>
                <a:gd name="T43" fmla="*/ 104 h 129"/>
                <a:gd name="T44" fmla="*/ 57 w 105"/>
                <a:gd name="T45" fmla="*/ 101 h 129"/>
                <a:gd name="T46" fmla="*/ 69 w 105"/>
                <a:gd name="T47" fmla="*/ 93 h 129"/>
                <a:gd name="T48" fmla="*/ 76 w 105"/>
                <a:gd name="T49" fmla="*/ 81 h 129"/>
                <a:gd name="T50" fmla="*/ 79 w 105"/>
                <a:gd name="T51" fmla="*/ 64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5" h="129">
                  <a:moveTo>
                    <a:pt x="105" y="64"/>
                  </a:moveTo>
                  <a:cubicBezTo>
                    <a:pt x="105" y="72"/>
                    <a:pt x="104" y="79"/>
                    <a:pt x="103" y="85"/>
                  </a:cubicBezTo>
                  <a:cubicBezTo>
                    <a:pt x="101" y="91"/>
                    <a:pt x="99" y="97"/>
                    <a:pt x="96" y="101"/>
                  </a:cubicBezTo>
                  <a:cubicBezTo>
                    <a:pt x="92" y="106"/>
                    <a:pt x="89" y="110"/>
                    <a:pt x="85" y="114"/>
                  </a:cubicBezTo>
                  <a:cubicBezTo>
                    <a:pt x="80" y="117"/>
                    <a:pt x="76" y="120"/>
                    <a:pt x="71" y="122"/>
                  </a:cubicBezTo>
                  <a:cubicBezTo>
                    <a:pt x="66" y="125"/>
                    <a:pt x="61" y="126"/>
                    <a:pt x="55" y="128"/>
                  </a:cubicBezTo>
                  <a:cubicBezTo>
                    <a:pt x="50" y="129"/>
                    <a:pt x="44" y="129"/>
                    <a:pt x="39" y="129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50" y="0"/>
                    <a:pt x="59" y="1"/>
                    <a:pt x="67" y="3"/>
                  </a:cubicBezTo>
                  <a:cubicBezTo>
                    <a:pt x="74" y="5"/>
                    <a:pt x="81" y="9"/>
                    <a:pt x="87" y="14"/>
                  </a:cubicBezTo>
                  <a:cubicBezTo>
                    <a:pt x="93" y="19"/>
                    <a:pt x="97" y="26"/>
                    <a:pt x="100" y="34"/>
                  </a:cubicBezTo>
                  <a:cubicBezTo>
                    <a:pt x="104" y="43"/>
                    <a:pt x="105" y="53"/>
                    <a:pt x="105" y="64"/>
                  </a:cubicBezTo>
                  <a:close/>
                  <a:moveTo>
                    <a:pt x="79" y="64"/>
                  </a:moveTo>
                  <a:cubicBezTo>
                    <a:pt x="79" y="58"/>
                    <a:pt x="78" y="52"/>
                    <a:pt x="76" y="47"/>
                  </a:cubicBezTo>
                  <a:cubicBezTo>
                    <a:pt x="75" y="42"/>
                    <a:pt x="73" y="38"/>
                    <a:pt x="70" y="35"/>
                  </a:cubicBezTo>
                  <a:cubicBezTo>
                    <a:pt x="66" y="31"/>
                    <a:pt x="62" y="29"/>
                    <a:pt x="58" y="27"/>
                  </a:cubicBezTo>
                  <a:cubicBezTo>
                    <a:pt x="53" y="26"/>
                    <a:pt x="47" y="25"/>
                    <a:pt x="40" y="25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6" y="104"/>
                    <a:pt x="26" y="104"/>
                    <a:pt x="26" y="104"/>
                  </a:cubicBezTo>
                  <a:cubicBezTo>
                    <a:pt x="39" y="104"/>
                    <a:pt x="39" y="104"/>
                    <a:pt x="39" y="104"/>
                  </a:cubicBezTo>
                  <a:cubicBezTo>
                    <a:pt x="46" y="104"/>
                    <a:pt x="52" y="103"/>
                    <a:pt x="57" y="101"/>
                  </a:cubicBezTo>
                  <a:cubicBezTo>
                    <a:pt x="62" y="99"/>
                    <a:pt x="66" y="97"/>
                    <a:pt x="69" y="93"/>
                  </a:cubicBezTo>
                  <a:cubicBezTo>
                    <a:pt x="72" y="90"/>
                    <a:pt x="75" y="85"/>
                    <a:pt x="76" y="81"/>
                  </a:cubicBezTo>
                  <a:cubicBezTo>
                    <a:pt x="78" y="76"/>
                    <a:pt x="79" y="70"/>
                    <a:pt x="79" y="6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25" name="Freeform 21">
              <a:extLst>
                <a:ext uri="{FF2B5EF4-FFF2-40B4-BE49-F238E27FC236}">
                  <a16:creationId xmlns:a16="http://schemas.microsoft.com/office/drawing/2014/main" id="{4BB24B6E-8D3D-449A-850B-52F8A8EF40A7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9964502" y="1430515"/>
              <a:ext cx="56222" cy="69297"/>
            </a:xfrm>
            <a:custGeom>
              <a:avLst/>
              <a:gdLst>
                <a:gd name="T0" fmla="*/ 84 w 84"/>
                <a:gd name="T1" fmla="*/ 51 h 101"/>
                <a:gd name="T2" fmla="*/ 84 w 84"/>
                <a:gd name="T3" fmla="*/ 55 h 101"/>
                <a:gd name="T4" fmla="*/ 84 w 84"/>
                <a:gd name="T5" fmla="*/ 59 h 101"/>
                <a:gd name="T6" fmla="*/ 26 w 84"/>
                <a:gd name="T7" fmla="*/ 59 h 101"/>
                <a:gd name="T8" fmla="*/ 28 w 84"/>
                <a:gd name="T9" fmla="*/ 67 h 101"/>
                <a:gd name="T10" fmla="*/ 32 w 84"/>
                <a:gd name="T11" fmla="*/ 73 h 101"/>
                <a:gd name="T12" fmla="*/ 39 w 84"/>
                <a:gd name="T13" fmla="*/ 76 h 101"/>
                <a:gd name="T14" fmla="*/ 46 w 84"/>
                <a:gd name="T15" fmla="*/ 77 h 101"/>
                <a:gd name="T16" fmla="*/ 50 w 84"/>
                <a:gd name="T17" fmla="*/ 77 h 101"/>
                <a:gd name="T18" fmla="*/ 55 w 84"/>
                <a:gd name="T19" fmla="*/ 75 h 101"/>
                <a:gd name="T20" fmla="*/ 59 w 84"/>
                <a:gd name="T21" fmla="*/ 73 h 101"/>
                <a:gd name="T22" fmla="*/ 62 w 84"/>
                <a:gd name="T23" fmla="*/ 70 h 101"/>
                <a:gd name="T24" fmla="*/ 80 w 84"/>
                <a:gd name="T25" fmla="*/ 85 h 101"/>
                <a:gd name="T26" fmla="*/ 74 w 84"/>
                <a:gd name="T27" fmla="*/ 92 h 101"/>
                <a:gd name="T28" fmla="*/ 65 w 84"/>
                <a:gd name="T29" fmla="*/ 97 h 101"/>
                <a:gd name="T30" fmla="*/ 55 w 84"/>
                <a:gd name="T31" fmla="*/ 100 h 101"/>
                <a:gd name="T32" fmla="*/ 46 w 84"/>
                <a:gd name="T33" fmla="*/ 101 h 101"/>
                <a:gd name="T34" fmla="*/ 31 w 84"/>
                <a:gd name="T35" fmla="*/ 99 h 101"/>
                <a:gd name="T36" fmla="*/ 20 w 84"/>
                <a:gd name="T37" fmla="*/ 94 h 101"/>
                <a:gd name="T38" fmla="*/ 12 w 84"/>
                <a:gd name="T39" fmla="*/ 87 h 101"/>
                <a:gd name="T40" fmla="*/ 5 w 84"/>
                <a:gd name="T41" fmla="*/ 77 h 101"/>
                <a:gd name="T42" fmla="*/ 1 w 84"/>
                <a:gd name="T43" fmla="*/ 65 h 101"/>
                <a:gd name="T44" fmla="*/ 0 w 84"/>
                <a:gd name="T45" fmla="*/ 51 h 101"/>
                <a:gd name="T46" fmla="*/ 3 w 84"/>
                <a:gd name="T47" fmla="*/ 30 h 101"/>
                <a:gd name="T48" fmla="*/ 12 w 84"/>
                <a:gd name="T49" fmla="*/ 14 h 101"/>
                <a:gd name="T50" fmla="*/ 26 w 84"/>
                <a:gd name="T51" fmla="*/ 4 h 101"/>
                <a:gd name="T52" fmla="*/ 43 w 84"/>
                <a:gd name="T53" fmla="*/ 0 h 101"/>
                <a:gd name="T54" fmla="*/ 61 w 84"/>
                <a:gd name="T55" fmla="*/ 4 h 101"/>
                <a:gd name="T56" fmla="*/ 73 w 84"/>
                <a:gd name="T57" fmla="*/ 15 h 101"/>
                <a:gd name="T58" fmla="*/ 81 w 84"/>
                <a:gd name="T59" fmla="*/ 31 h 101"/>
                <a:gd name="T60" fmla="*/ 84 w 84"/>
                <a:gd name="T61" fmla="*/ 51 h 101"/>
                <a:gd name="T62" fmla="*/ 59 w 84"/>
                <a:gd name="T63" fmla="*/ 40 h 101"/>
                <a:gd name="T64" fmla="*/ 58 w 84"/>
                <a:gd name="T65" fmla="*/ 33 h 101"/>
                <a:gd name="T66" fmla="*/ 55 w 84"/>
                <a:gd name="T67" fmla="*/ 28 h 101"/>
                <a:gd name="T68" fmla="*/ 49 w 84"/>
                <a:gd name="T69" fmla="*/ 24 h 101"/>
                <a:gd name="T70" fmla="*/ 42 w 84"/>
                <a:gd name="T71" fmla="*/ 22 h 101"/>
                <a:gd name="T72" fmla="*/ 36 w 84"/>
                <a:gd name="T73" fmla="*/ 24 h 101"/>
                <a:gd name="T74" fmla="*/ 31 w 84"/>
                <a:gd name="T75" fmla="*/ 27 h 101"/>
                <a:gd name="T76" fmla="*/ 28 w 84"/>
                <a:gd name="T77" fmla="*/ 33 h 101"/>
                <a:gd name="T78" fmla="*/ 26 w 84"/>
                <a:gd name="T79" fmla="*/ 40 h 101"/>
                <a:gd name="T80" fmla="*/ 59 w 84"/>
                <a:gd name="T81" fmla="*/ 4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4" h="101">
                  <a:moveTo>
                    <a:pt x="84" y="51"/>
                  </a:moveTo>
                  <a:cubicBezTo>
                    <a:pt x="84" y="52"/>
                    <a:pt x="84" y="54"/>
                    <a:pt x="84" y="55"/>
                  </a:cubicBezTo>
                  <a:cubicBezTo>
                    <a:pt x="84" y="57"/>
                    <a:pt x="84" y="58"/>
                    <a:pt x="84" y="59"/>
                  </a:cubicBezTo>
                  <a:cubicBezTo>
                    <a:pt x="26" y="59"/>
                    <a:pt x="26" y="59"/>
                    <a:pt x="26" y="59"/>
                  </a:cubicBezTo>
                  <a:cubicBezTo>
                    <a:pt x="26" y="62"/>
                    <a:pt x="27" y="65"/>
                    <a:pt x="28" y="67"/>
                  </a:cubicBezTo>
                  <a:cubicBezTo>
                    <a:pt x="29" y="70"/>
                    <a:pt x="31" y="71"/>
                    <a:pt x="32" y="73"/>
                  </a:cubicBezTo>
                  <a:cubicBezTo>
                    <a:pt x="34" y="74"/>
                    <a:pt x="36" y="75"/>
                    <a:pt x="39" y="76"/>
                  </a:cubicBezTo>
                  <a:cubicBezTo>
                    <a:pt x="41" y="77"/>
                    <a:pt x="43" y="77"/>
                    <a:pt x="46" y="77"/>
                  </a:cubicBezTo>
                  <a:cubicBezTo>
                    <a:pt x="47" y="77"/>
                    <a:pt x="49" y="77"/>
                    <a:pt x="50" y="77"/>
                  </a:cubicBezTo>
                  <a:cubicBezTo>
                    <a:pt x="52" y="76"/>
                    <a:pt x="54" y="76"/>
                    <a:pt x="55" y="75"/>
                  </a:cubicBezTo>
                  <a:cubicBezTo>
                    <a:pt x="57" y="75"/>
                    <a:pt x="58" y="74"/>
                    <a:pt x="59" y="73"/>
                  </a:cubicBezTo>
                  <a:cubicBezTo>
                    <a:pt x="60" y="72"/>
                    <a:pt x="61" y="71"/>
                    <a:pt x="62" y="70"/>
                  </a:cubicBezTo>
                  <a:cubicBezTo>
                    <a:pt x="80" y="85"/>
                    <a:pt x="80" y="85"/>
                    <a:pt x="80" y="85"/>
                  </a:cubicBezTo>
                  <a:cubicBezTo>
                    <a:pt x="78" y="88"/>
                    <a:pt x="76" y="90"/>
                    <a:pt x="74" y="92"/>
                  </a:cubicBezTo>
                  <a:cubicBezTo>
                    <a:pt x="71" y="94"/>
                    <a:pt x="68" y="96"/>
                    <a:pt x="65" y="97"/>
                  </a:cubicBezTo>
                  <a:cubicBezTo>
                    <a:pt x="62" y="98"/>
                    <a:pt x="59" y="99"/>
                    <a:pt x="55" y="100"/>
                  </a:cubicBezTo>
                  <a:cubicBezTo>
                    <a:pt x="52" y="101"/>
                    <a:pt x="49" y="101"/>
                    <a:pt x="46" y="101"/>
                  </a:cubicBezTo>
                  <a:cubicBezTo>
                    <a:pt x="40" y="101"/>
                    <a:pt x="35" y="101"/>
                    <a:pt x="31" y="99"/>
                  </a:cubicBezTo>
                  <a:cubicBezTo>
                    <a:pt x="27" y="98"/>
                    <a:pt x="23" y="96"/>
                    <a:pt x="20" y="94"/>
                  </a:cubicBezTo>
                  <a:cubicBezTo>
                    <a:pt x="17" y="92"/>
                    <a:pt x="14" y="89"/>
                    <a:pt x="12" y="87"/>
                  </a:cubicBezTo>
                  <a:cubicBezTo>
                    <a:pt x="9" y="84"/>
                    <a:pt x="7" y="80"/>
                    <a:pt x="5" y="77"/>
                  </a:cubicBezTo>
                  <a:cubicBezTo>
                    <a:pt x="4" y="73"/>
                    <a:pt x="2" y="69"/>
                    <a:pt x="1" y="65"/>
                  </a:cubicBezTo>
                  <a:cubicBezTo>
                    <a:pt x="0" y="61"/>
                    <a:pt x="0" y="56"/>
                    <a:pt x="0" y="51"/>
                  </a:cubicBezTo>
                  <a:cubicBezTo>
                    <a:pt x="0" y="43"/>
                    <a:pt x="1" y="36"/>
                    <a:pt x="3" y="30"/>
                  </a:cubicBezTo>
                  <a:cubicBezTo>
                    <a:pt x="5" y="24"/>
                    <a:pt x="8" y="19"/>
                    <a:pt x="12" y="14"/>
                  </a:cubicBezTo>
                  <a:cubicBezTo>
                    <a:pt x="16" y="10"/>
                    <a:pt x="21" y="6"/>
                    <a:pt x="26" y="4"/>
                  </a:cubicBezTo>
                  <a:cubicBezTo>
                    <a:pt x="31" y="1"/>
                    <a:pt x="37" y="0"/>
                    <a:pt x="43" y="0"/>
                  </a:cubicBezTo>
                  <a:cubicBezTo>
                    <a:pt x="50" y="0"/>
                    <a:pt x="55" y="1"/>
                    <a:pt x="61" y="4"/>
                  </a:cubicBezTo>
                  <a:cubicBezTo>
                    <a:pt x="66" y="7"/>
                    <a:pt x="70" y="10"/>
                    <a:pt x="73" y="15"/>
                  </a:cubicBezTo>
                  <a:cubicBezTo>
                    <a:pt x="77" y="19"/>
                    <a:pt x="79" y="25"/>
                    <a:pt x="81" y="31"/>
                  </a:cubicBezTo>
                  <a:cubicBezTo>
                    <a:pt x="83" y="37"/>
                    <a:pt x="84" y="44"/>
                    <a:pt x="84" y="51"/>
                  </a:cubicBezTo>
                  <a:close/>
                  <a:moveTo>
                    <a:pt x="59" y="40"/>
                  </a:moveTo>
                  <a:cubicBezTo>
                    <a:pt x="59" y="37"/>
                    <a:pt x="59" y="35"/>
                    <a:pt x="58" y="33"/>
                  </a:cubicBezTo>
                  <a:cubicBezTo>
                    <a:pt x="57" y="31"/>
                    <a:pt x="56" y="29"/>
                    <a:pt x="55" y="28"/>
                  </a:cubicBezTo>
                  <a:cubicBezTo>
                    <a:pt x="53" y="26"/>
                    <a:pt x="51" y="25"/>
                    <a:pt x="49" y="24"/>
                  </a:cubicBezTo>
                  <a:cubicBezTo>
                    <a:pt x="47" y="23"/>
                    <a:pt x="45" y="22"/>
                    <a:pt x="42" y="22"/>
                  </a:cubicBezTo>
                  <a:cubicBezTo>
                    <a:pt x="40" y="22"/>
                    <a:pt x="37" y="23"/>
                    <a:pt x="36" y="24"/>
                  </a:cubicBezTo>
                  <a:cubicBezTo>
                    <a:pt x="34" y="24"/>
                    <a:pt x="32" y="26"/>
                    <a:pt x="31" y="27"/>
                  </a:cubicBezTo>
                  <a:cubicBezTo>
                    <a:pt x="29" y="29"/>
                    <a:pt x="28" y="31"/>
                    <a:pt x="28" y="33"/>
                  </a:cubicBezTo>
                  <a:cubicBezTo>
                    <a:pt x="27" y="35"/>
                    <a:pt x="26" y="37"/>
                    <a:pt x="26" y="40"/>
                  </a:cubicBezTo>
                  <a:lnTo>
                    <a:pt x="59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26" name="Freeform 22">
              <a:extLst>
                <a:ext uri="{FF2B5EF4-FFF2-40B4-BE49-F238E27FC236}">
                  <a16:creationId xmlns:a16="http://schemas.microsoft.com/office/drawing/2014/main" id="{767CA49F-CF78-4517-9D40-459A6165DB66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035106" y="1431822"/>
              <a:ext cx="57529" cy="67989"/>
            </a:xfrm>
            <a:custGeom>
              <a:avLst/>
              <a:gdLst>
                <a:gd name="T0" fmla="*/ 58 w 84"/>
                <a:gd name="T1" fmla="*/ 97 h 99"/>
                <a:gd name="T2" fmla="*/ 58 w 84"/>
                <a:gd name="T3" fmla="*/ 91 h 99"/>
                <a:gd name="T4" fmla="*/ 49 w 84"/>
                <a:gd name="T5" fmla="*/ 97 h 99"/>
                <a:gd name="T6" fmla="*/ 35 w 84"/>
                <a:gd name="T7" fmla="*/ 99 h 99"/>
                <a:gd name="T8" fmla="*/ 9 w 84"/>
                <a:gd name="T9" fmla="*/ 88 h 99"/>
                <a:gd name="T10" fmla="*/ 0 w 84"/>
                <a:gd name="T11" fmla="*/ 55 h 99"/>
                <a:gd name="T12" fmla="*/ 0 w 84"/>
                <a:gd name="T13" fmla="*/ 0 h 99"/>
                <a:gd name="T14" fmla="*/ 25 w 84"/>
                <a:gd name="T15" fmla="*/ 0 h 99"/>
                <a:gd name="T16" fmla="*/ 25 w 84"/>
                <a:gd name="T17" fmla="*/ 52 h 99"/>
                <a:gd name="T18" fmla="*/ 29 w 84"/>
                <a:gd name="T19" fmla="*/ 70 h 99"/>
                <a:gd name="T20" fmla="*/ 42 w 84"/>
                <a:gd name="T21" fmla="*/ 75 h 99"/>
                <a:gd name="T22" fmla="*/ 54 w 84"/>
                <a:gd name="T23" fmla="*/ 70 h 99"/>
                <a:gd name="T24" fmla="*/ 58 w 84"/>
                <a:gd name="T25" fmla="*/ 53 h 99"/>
                <a:gd name="T26" fmla="*/ 58 w 84"/>
                <a:gd name="T27" fmla="*/ 0 h 99"/>
                <a:gd name="T28" fmla="*/ 84 w 84"/>
                <a:gd name="T29" fmla="*/ 0 h 99"/>
                <a:gd name="T30" fmla="*/ 84 w 84"/>
                <a:gd name="T31" fmla="*/ 97 h 99"/>
                <a:gd name="T32" fmla="*/ 58 w 84"/>
                <a:gd name="T33" fmla="*/ 97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4" h="99">
                  <a:moveTo>
                    <a:pt x="58" y="97"/>
                  </a:moveTo>
                  <a:cubicBezTo>
                    <a:pt x="58" y="91"/>
                    <a:pt x="58" y="91"/>
                    <a:pt x="58" y="91"/>
                  </a:cubicBezTo>
                  <a:cubicBezTo>
                    <a:pt x="56" y="93"/>
                    <a:pt x="53" y="95"/>
                    <a:pt x="49" y="97"/>
                  </a:cubicBezTo>
                  <a:cubicBezTo>
                    <a:pt x="45" y="98"/>
                    <a:pt x="41" y="99"/>
                    <a:pt x="35" y="99"/>
                  </a:cubicBezTo>
                  <a:cubicBezTo>
                    <a:pt x="24" y="99"/>
                    <a:pt x="15" y="95"/>
                    <a:pt x="9" y="88"/>
                  </a:cubicBezTo>
                  <a:cubicBezTo>
                    <a:pt x="3" y="80"/>
                    <a:pt x="0" y="69"/>
                    <a:pt x="0" y="5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52"/>
                    <a:pt x="25" y="52"/>
                    <a:pt x="25" y="52"/>
                  </a:cubicBezTo>
                  <a:cubicBezTo>
                    <a:pt x="25" y="60"/>
                    <a:pt x="26" y="66"/>
                    <a:pt x="29" y="70"/>
                  </a:cubicBezTo>
                  <a:cubicBezTo>
                    <a:pt x="31" y="73"/>
                    <a:pt x="36" y="75"/>
                    <a:pt x="42" y="75"/>
                  </a:cubicBezTo>
                  <a:cubicBezTo>
                    <a:pt x="48" y="75"/>
                    <a:pt x="52" y="73"/>
                    <a:pt x="54" y="70"/>
                  </a:cubicBezTo>
                  <a:cubicBezTo>
                    <a:pt x="57" y="66"/>
                    <a:pt x="58" y="60"/>
                    <a:pt x="58" y="53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97"/>
                    <a:pt x="84" y="97"/>
                    <a:pt x="84" y="97"/>
                  </a:cubicBezTo>
                  <a:lnTo>
                    <a:pt x="58" y="9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27" name="Freeform 23">
              <a:extLst>
                <a:ext uri="{FF2B5EF4-FFF2-40B4-BE49-F238E27FC236}">
                  <a16:creationId xmlns:a16="http://schemas.microsoft.com/office/drawing/2014/main" id="{BCE97B83-65DD-49DB-AC39-56BB28ACA966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104403" y="1406980"/>
              <a:ext cx="43148" cy="92832"/>
            </a:xfrm>
            <a:custGeom>
              <a:avLst/>
              <a:gdLst>
                <a:gd name="T0" fmla="*/ 62 w 65"/>
                <a:gd name="T1" fmla="*/ 131 h 137"/>
                <a:gd name="T2" fmla="*/ 53 w 65"/>
                <a:gd name="T3" fmla="*/ 135 h 137"/>
                <a:gd name="T4" fmla="*/ 42 w 65"/>
                <a:gd name="T5" fmla="*/ 137 h 137"/>
                <a:gd name="T6" fmla="*/ 31 w 65"/>
                <a:gd name="T7" fmla="*/ 135 h 137"/>
                <a:gd name="T8" fmla="*/ 23 w 65"/>
                <a:gd name="T9" fmla="*/ 129 h 137"/>
                <a:gd name="T10" fmla="*/ 18 w 65"/>
                <a:gd name="T11" fmla="*/ 120 h 137"/>
                <a:gd name="T12" fmla="*/ 16 w 65"/>
                <a:gd name="T13" fmla="*/ 108 h 137"/>
                <a:gd name="T14" fmla="*/ 16 w 65"/>
                <a:gd name="T15" fmla="*/ 62 h 137"/>
                <a:gd name="T16" fmla="*/ 0 w 65"/>
                <a:gd name="T17" fmla="*/ 62 h 137"/>
                <a:gd name="T18" fmla="*/ 0 w 65"/>
                <a:gd name="T19" fmla="*/ 38 h 137"/>
                <a:gd name="T20" fmla="*/ 16 w 65"/>
                <a:gd name="T21" fmla="*/ 38 h 137"/>
                <a:gd name="T22" fmla="*/ 16 w 65"/>
                <a:gd name="T23" fmla="*/ 13 h 137"/>
                <a:gd name="T24" fmla="*/ 42 w 65"/>
                <a:gd name="T25" fmla="*/ 0 h 137"/>
                <a:gd name="T26" fmla="*/ 42 w 65"/>
                <a:gd name="T27" fmla="*/ 38 h 137"/>
                <a:gd name="T28" fmla="*/ 65 w 65"/>
                <a:gd name="T29" fmla="*/ 38 h 137"/>
                <a:gd name="T30" fmla="*/ 65 w 65"/>
                <a:gd name="T31" fmla="*/ 62 h 137"/>
                <a:gd name="T32" fmla="*/ 42 w 65"/>
                <a:gd name="T33" fmla="*/ 62 h 137"/>
                <a:gd name="T34" fmla="*/ 42 w 65"/>
                <a:gd name="T35" fmla="*/ 101 h 137"/>
                <a:gd name="T36" fmla="*/ 42 w 65"/>
                <a:gd name="T37" fmla="*/ 107 h 137"/>
                <a:gd name="T38" fmla="*/ 44 w 65"/>
                <a:gd name="T39" fmla="*/ 110 h 137"/>
                <a:gd name="T40" fmla="*/ 47 w 65"/>
                <a:gd name="T41" fmla="*/ 112 h 137"/>
                <a:gd name="T42" fmla="*/ 51 w 65"/>
                <a:gd name="T43" fmla="*/ 113 h 137"/>
                <a:gd name="T44" fmla="*/ 58 w 65"/>
                <a:gd name="T45" fmla="*/ 111 h 137"/>
                <a:gd name="T46" fmla="*/ 65 w 65"/>
                <a:gd name="T47" fmla="*/ 105 h 137"/>
                <a:gd name="T48" fmla="*/ 62 w 65"/>
                <a:gd name="T49" fmla="*/ 131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5" h="137">
                  <a:moveTo>
                    <a:pt x="62" y="131"/>
                  </a:moveTo>
                  <a:cubicBezTo>
                    <a:pt x="60" y="133"/>
                    <a:pt x="57" y="134"/>
                    <a:pt x="53" y="135"/>
                  </a:cubicBezTo>
                  <a:cubicBezTo>
                    <a:pt x="50" y="137"/>
                    <a:pt x="46" y="137"/>
                    <a:pt x="42" y="137"/>
                  </a:cubicBezTo>
                  <a:cubicBezTo>
                    <a:pt x="38" y="137"/>
                    <a:pt x="34" y="136"/>
                    <a:pt x="31" y="135"/>
                  </a:cubicBezTo>
                  <a:cubicBezTo>
                    <a:pt x="28" y="134"/>
                    <a:pt x="25" y="132"/>
                    <a:pt x="23" y="129"/>
                  </a:cubicBezTo>
                  <a:cubicBezTo>
                    <a:pt x="21" y="126"/>
                    <a:pt x="19" y="123"/>
                    <a:pt x="18" y="120"/>
                  </a:cubicBezTo>
                  <a:cubicBezTo>
                    <a:pt x="17" y="116"/>
                    <a:pt x="16" y="112"/>
                    <a:pt x="16" y="108"/>
                  </a:cubicBezTo>
                  <a:cubicBezTo>
                    <a:pt x="16" y="62"/>
                    <a:pt x="16" y="62"/>
                    <a:pt x="16" y="62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38"/>
                    <a:pt x="42" y="38"/>
                    <a:pt x="42" y="38"/>
                  </a:cubicBezTo>
                  <a:cubicBezTo>
                    <a:pt x="65" y="38"/>
                    <a:pt x="65" y="38"/>
                    <a:pt x="65" y="38"/>
                  </a:cubicBezTo>
                  <a:cubicBezTo>
                    <a:pt x="65" y="62"/>
                    <a:pt x="65" y="62"/>
                    <a:pt x="65" y="62"/>
                  </a:cubicBezTo>
                  <a:cubicBezTo>
                    <a:pt x="42" y="62"/>
                    <a:pt x="42" y="62"/>
                    <a:pt x="42" y="62"/>
                  </a:cubicBezTo>
                  <a:cubicBezTo>
                    <a:pt x="42" y="101"/>
                    <a:pt x="42" y="101"/>
                    <a:pt x="42" y="101"/>
                  </a:cubicBezTo>
                  <a:cubicBezTo>
                    <a:pt x="42" y="103"/>
                    <a:pt x="42" y="105"/>
                    <a:pt x="42" y="107"/>
                  </a:cubicBezTo>
                  <a:cubicBezTo>
                    <a:pt x="43" y="108"/>
                    <a:pt x="43" y="110"/>
                    <a:pt x="44" y="110"/>
                  </a:cubicBezTo>
                  <a:cubicBezTo>
                    <a:pt x="45" y="111"/>
                    <a:pt x="46" y="112"/>
                    <a:pt x="47" y="112"/>
                  </a:cubicBezTo>
                  <a:cubicBezTo>
                    <a:pt x="48" y="113"/>
                    <a:pt x="49" y="113"/>
                    <a:pt x="51" y="113"/>
                  </a:cubicBezTo>
                  <a:cubicBezTo>
                    <a:pt x="53" y="113"/>
                    <a:pt x="55" y="112"/>
                    <a:pt x="58" y="111"/>
                  </a:cubicBezTo>
                  <a:cubicBezTo>
                    <a:pt x="60" y="110"/>
                    <a:pt x="62" y="108"/>
                    <a:pt x="65" y="105"/>
                  </a:cubicBezTo>
                  <a:lnTo>
                    <a:pt x="62" y="13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28" name="Freeform 24">
              <a:extLst>
                <a:ext uri="{FF2B5EF4-FFF2-40B4-BE49-F238E27FC236}">
                  <a16:creationId xmlns:a16="http://schemas.microsoft.com/office/drawing/2014/main" id="{3A70ECD6-5CB1-4ABC-BD20-5CD3C4FFDF5E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160625" y="1430515"/>
              <a:ext cx="56222" cy="69297"/>
            </a:xfrm>
            <a:custGeom>
              <a:avLst/>
              <a:gdLst>
                <a:gd name="T0" fmla="*/ 78 w 81"/>
                <a:gd name="T1" fmla="*/ 9 h 101"/>
                <a:gd name="T2" fmla="*/ 70 w 81"/>
                <a:gd name="T3" fmla="*/ 30 h 101"/>
                <a:gd name="T4" fmla="*/ 55 w 81"/>
                <a:gd name="T5" fmla="*/ 24 h 101"/>
                <a:gd name="T6" fmla="*/ 41 w 81"/>
                <a:gd name="T7" fmla="*/ 22 h 101"/>
                <a:gd name="T8" fmla="*/ 31 w 81"/>
                <a:gd name="T9" fmla="*/ 23 h 101"/>
                <a:gd name="T10" fmla="*/ 28 w 81"/>
                <a:gd name="T11" fmla="*/ 28 h 101"/>
                <a:gd name="T12" fmla="*/ 29 w 81"/>
                <a:gd name="T13" fmla="*/ 31 h 101"/>
                <a:gd name="T14" fmla="*/ 32 w 81"/>
                <a:gd name="T15" fmla="*/ 33 h 101"/>
                <a:gd name="T16" fmla="*/ 38 w 81"/>
                <a:gd name="T17" fmla="*/ 36 h 101"/>
                <a:gd name="T18" fmla="*/ 48 w 81"/>
                <a:gd name="T19" fmla="*/ 39 h 101"/>
                <a:gd name="T20" fmla="*/ 61 w 81"/>
                <a:gd name="T21" fmla="*/ 44 h 101"/>
                <a:gd name="T22" fmla="*/ 71 w 81"/>
                <a:gd name="T23" fmla="*/ 50 h 101"/>
                <a:gd name="T24" fmla="*/ 78 w 81"/>
                <a:gd name="T25" fmla="*/ 59 h 101"/>
                <a:gd name="T26" fmla="*/ 81 w 81"/>
                <a:gd name="T27" fmla="*/ 71 h 101"/>
                <a:gd name="T28" fmla="*/ 78 w 81"/>
                <a:gd name="T29" fmla="*/ 85 h 101"/>
                <a:gd name="T30" fmla="*/ 69 w 81"/>
                <a:gd name="T31" fmla="*/ 94 h 101"/>
                <a:gd name="T32" fmla="*/ 57 w 81"/>
                <a:gd name="T33" fmla="*/ 100 h 101"/>
                <a:gd name="T34" fmla="*/ 41 w 81"/>
                <a:gd name="T35" fmla="*/ 101 h 101"/>
                <a:gd name="T36" fmla="*/ 19 w 81"/>
                <a:gd name="T37" fmla="*/ 98 h 101"/>
                <a:gd name="T38" fmla="*/ 0 w 81"/>
                <a:gd name="T39" fmla="*/ 90 h 101"/>
                <a:gd name="T40" fmla="*/ 9 w 81"/>
                <a:gd name="T41" fmla="*/ 70 h 101"/>
                <a:gd name="T42" fmla="*/ 25 w 81"/>
                <a:gd name="T43" fmla="*/ 77 h 101"/>
                <a:gd name="T44" fmla="*/ 43 w 81"/>
                <a:gd name="T45" fmla="*/ 79 h 101"/>
                <a:gd name="T46" fmla="*/ 53 w 81"/>
                <a:gd name="T47" fmla="*/ 78 h 101"/>
                <a:gd name="T48" fmla="*/ 56 w 81"/>
                <a:gd name="T49" fmla="*/ 72 h 101"/>
                <a:gd name="T50" fmla="*/ 55 w 81"/>
                <a:gd name="T51" fmla="*/ 69 h 101"/>
                <a:gd name="T52" fmla="*/ 53 w 81"/>
                <a:gd name="T53" fmla="*/ 67 h 101"/>
                <a:gd name="T54" fmla="*/ 48 w 81"/>
                <a:gd name="T55" fmla="*/ 64 h 101"/>
                <a:gd name="T56" fmla="*/ 41 w 81"/>
                <a:gd name="T57" fmla="*/ 62 h 101"/>
                <a:gd name="T58" fmla="*/ 26 w 81"/>
                <a:gd name="T59" fmla="*/ 57 h 101"/>
                <a:gd name="T60" fmla="*/ 13 w 81"/>
                <a:gd name="T61" fmla="*/ 51 h 101"/>
                <a:gd name="T62" fmla="*/ 6 w 81"/>
                <a:gd name="T63" fmla="*/ 42 h 101"/>
                <a:gd name="T64" fmla="*/ 3 w 81"/>
                <a:gd name="T65" fmla="*/ 29 h 101"/>
                <a:gd name="T66" fmla="*/ 6 w 81"/>
                <a:gd name="T67" fmla="*/ 16 h 101"/>
                <a:gd name="T68" fmla="*/ 14 w 81"/>
                <a:gd name="T69" fmla="*/ 7 h 101"/>
                <a:gd name="T70" fmla="*/ 26 w 81"/>
                <a:gd name="T71" fmla="*/ 2 h 101"/>
                <a:gd name="T72" fmla="*/ 42 w 81"/>
                <a:gd name="T73" fmla="*/ 0 h 101"/>
                <a:gd name="T74" fmla="*/ 61 w 81"/>
                <a:gd name="T75" fmla="*/ 3 h 101"/>
                <a:gd name="T76" fmla="*/ 78 w 81"/>
                <a:gd name="T77" fmla="*/ 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81" h="101">
                  <a:moveTo>
                    <a:pt x="78" y="9"/>
                  </a:moveTo>
                  <a:cubicBezTo>
                    <a:pt x="70" y="30"/>
                    <a:pt x="70" y="30"/>
                    <a:pt x="70" y="30"/>
                  </a:cubicBezTo>
                  <a:cubicBezTo>
                    <a:pt x="65" y="27"/>
                    <a:pt x="60" y="25"/>
                    <a:pt x="55" y="24"/>
                  </a:cubicBezTo>
                  <a:cubicBezTo>
                    <a:pt x="50" y="22"/>
                    <a:pt x="45" y="22"/>
                    <a:pt x="41" y="22"/>
                  </a:cubicBezTo>
                  <a:cubicBezTo>
                    <a:pt x="37" y="22"/>
                    <a:pt x="34" y="22"/>
                    <a:pt x="31" y="23"/>
                  </a:cubicBezTo>
                  <a:cubicBezTo>
                    <a:pt x="29" y="24"/>
                    <a:pt x="28" y="26"/>
                    <a:pt x="28" y="28"/>
                  </a:cubicBezTo>
                  <a:cubicBezTo>
                    <a:pt x="28" y="29"/>
                    <a:pt x="29" y="30"/>
                    <a:pt x="29" y="31"/>
                  </a:cubicBezTo>
                  <a:cubicBezTo>
                    <a:pt x="29" y="32"/>
                    <a:pt x="30" y="32"/>
                    <a:pt x="32" y="33"/>
                  </a:cubicBezTo>
                  <a:cubicBezTo>
                    <a:pt x="33" y="34"/>
                    <a:pt x="35" y="35"/>
                    <a:pt x="38" y="36"/>
                  </a:cubicBezTo>
                  <a:cubicBezTo>
                    <a:pt x="41" y="37"/>
                    <a:pt x="44" y="38"/>
                    <a:pt x="48" y="39"/>
                  </a:cubicBezTo>
                  <a:cubicBezTo>
                    <a:pt x="53" y="41"/>
                    <a:pt x="57" y="42"/>
                    <a:pt x="61" y="44"/>
                  </a:cubicBezTo>
                  <a:cubicBezTo>
                    <a:pt x="65" y="46"/>
                    <a:pt x="68" y="48"/>
                    <a:pt x="71" y="50"/>
                  </a:cubicBezTo>
                  <a:cubicBezTo>
                    <a:pt x="74" y="52"/>
                    <a:pt x="76" y="55"/>
                    <a:pt x="78" y="59"/>
                  </a:cubicBezTo>
                  <a:cubicBezTo>
                    <a:pt x="80" y="62"/>
                    <a:pt x="81" y="66"/>
                    <a:pt x="81" y="71"/>
                  </a:cubicBezTo>
                  <a:cubicBezTo>
                    <a:pt x="81" y="76"/>
                    <a:pt x="80" y="81"/>
                    <a:pt x="78" y="85"/>
                  </a:cubicBezTo>
                  <a:cubicBezTo>
                    <a:pt x="76" y="89"/>
                    <a:pt x="73" y="92"/>
                    <a:pt x="69" y="94"/>
                  </a:cubicBezTo>
                  <a:cubicBezTo>
                    <a:pt x="66" y="97"/>
                    <a:pt x="61" y="98"/>
                    <a:pt x="57" y="100"/>
                  </a:cubicBezTo>
                  <a:cubicBezTo>
                    <a:pt x="52" y="101"/>
                    <a:pt x="47" y="101"/>
                    <a:pt x="41" y="101"/>
                  </a:cubicBezTo>
                  <a:cubicBezTo>
                    <a:pt x="34" y="101"/>
                    <a:pt x="26" y="100"/>
                    <a:pt x="19" y="98"/>
                  </a:cubicBezTo>
                  <a:cubicBezTo>
                    <a:pt x="12" y="96"/>
                    <a:pt x="6" y="93"/>
                    <a:pt x="0" y="90"/>
                  </a:cubicBezTo>
                  <a:cubicBezTo>
                    <a:pt x="9" y="70"/>
                    <a:pt x="9" y="70"/>
                    <a:pt x="9" y="70"/>
                  </a:cubicBezTo>
                  <a:cubicBezTo>
                    <a:pt x="14" y="73"/>
                    <a:pt x="20" y="76"/>
                    <a:pt x="25" y="77"/>
                  </a:cubicBezTo>
                  <a:cubicBezTo>
                    <a:pt x="31" y="79"/>
                    <a:pt x="36" y="79"/>
                    <a:pt x="43" y="79"/>
                  </a:cubicBezTo>
                  <a:cubicBezTo>
                    <a:pt x="47" y="79"/>
                    <a:pt x="51" y="79"/>
                    <a:pt x="53" y="78"/>
                  </a:cubicBezTo>
                  <a:cubicBezTo>
                    <a:pt x="55" y="76"/>
                    <a:pt x="56" y="75"/>
                    <a:pt x="56" y="72"/>
                  </a:cubicBezTo>
                  <a:cubicBezTo>
                    <a:pt x="56" y="71"/>
                    <a:pt x="55" y="70"/>
                    <a:pt x="55" y="69"/>
                  </a:cubicBezTo>
                  <a:cubicBezTo>
                    <a:pt x="54" y="68"/>
                    <a:pt x="54" y="67"/>
                    <a:pt x="53" y="67"/>
                  </a:cubicBezTo>
                  <a:cubicBezTo>
                    <a:pt x="51" y="66"/>
                    <a:pt x="50" y="65"/>
                    <a:pt x="48" y="64"/>
                  </a:cubicBezTo>
                  <a:cubicBezTo>
                    <a:pt x="46" y="64"/>
                    <a:pt x="44" y="63"/>
                    <a:pt x="41" y="62"/>
                  </a:cubicBezTo>
                  <a:cubicBezTo>
                    <a:pt x="36" y="60"/>
                    <a:pt x="30" y="59"/>
                    <a:pt x="26" y="57"/>
                  </a:cubicBezTo>
                  <a:cubicBezTo>
                    <a:pt x="21" y="55"/>
                    <a:pt x="17" y="53"/>
                    <a:pt x="13" y="51"/>
                  </a:cubicBezTo>
                  <a:cubicBezTo>
                    <a:pt x="10" y="48"/>
                    <a:pt x="8" y="45"/>
                    <a:pt x="6" y="42"/>
                  </a:cubicBezTo>
                  <a:cubicBezTo>
                    <a:pt x="4" y="38"/>
                    <a:pt x="3" y="34"/>
                    <a:pt x="3" y="29"/>
                  </a:cubicBezTo>
                  <a:cubicBezTo>
                    <a:pt x="3" y="24"/>
                    <a:pt x="4" y="19"/>
                    <a:pt x="6" y="16"/>
                  </a:cubicBezTo>
                  <a:cubicBezTo>
                    <a:pt x="8" y="12"/>
                    <a:pt x="10" y="9"/>
                    <a:pt x="14" y="7"/>
                  </a:cubicBezTo>
                  <a:cubicBezTo>
                    <a:pt x="17" y="4"/>
                    <a:pt x="21" y="3"/>
                    <a:pt x="26" y="2"/>
                  </a:cubicBezTo>
                  <a:cubicBezTo>
                    <a:pt x="31" y="0"/>
                    <a:pt x="36" y="0"/>
                    <a:pt x="42" y="0"/>
                  </a:cubicBezTo>
                  <a:cubicBezTo>
                    <a:pt x="48" y="0"/>
                    <a:pt x="54" y="1"/>
                    <a:pt x="61" y="3"/>
                  </a:cubicBezTo>
                  <a:cubicBezTo>
                    <a:pt x="67" y="4"/>
                    <a:pt x="73" y="7"/>
                    <a:pt x="78" y="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25">
              <a:extLst>
                <a:ext uri="{FF2B5EF4-FFF2-40B4-BE49-F238E27FC236}">
                  <a16:creationId xmlns:a16="http://schemas.microsoft.com/office/drawing/2014/main" id="{5A85C156-A249-4B2C-8A44-A8D8A3A0EEFE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226000" y="1430515"/>
              <a:ext cx="58837" cy="69297"/>
            </a:xfrm>
            <a:custGeom>
              <a:avLst/>
              <a:gdLst>
                <a:gd name="T0" fmla="*/ 85 w 85"/>
                <a:gd name="T1" fmla="*/ 80 h 101"/>
                <a:gd name="T2" fmla="*/ 77 w 85"/>
                <a:gd name="T3" fmla="*/ 88 h 101"/>
                <a:gd name="T4" fmla="*/ 69 w 85"/>
                <a:gd name="T5" fmla="*/ 95 h 101"/>
                <a:gd name="T6" fmla="*/ 58 w 85"/>
                <a:gd name="T7" fmla="*/ 100 h 101"/>
                <a:gd name="T8" fmla="*/ 45 w 85"/>
                <a:gd name="T9" fmla="*/ 101 h 101"/>
                <a:gd name="T10" fmla="*/ 27 w 85"/>
                <a:gd name="T11" fmla="*/ 98 h 101"/>
                <a:gd name="T12" fmla="*/ 13 w 85"/>
                <a:gd name="T13" fmla="*/ 87 h 101"/>
                <a:gd name="T14" fmla="*/ 3 w 85"/>
                <a:gd name="T15" fmla="*/ 71 h 101"/>
                <a:gd name="T16" fmla="*/ 0 w 85"/>
                <a:gd name="T17" fmla="*/ 51 h 101"/>
                <a:gd name="T18" fmla="*/ 3 w 85"/>
                <a:gd name="T19" fmla="*/ 30 h 101"/>
                <a:gd name="T20" fmla="*/ 13 w 85"/>
                <a:gd name="T21" fmla="*/ 14 h 101"/>
                <a:gd name="T22" fmla="*/ 28 w 85"/>
                <a:gd name="T23" fmla="*/ 4 h 101"/>
                <a:gd name="T24" fmla="*/ 46 w 85"/>
                <a:gd name="T25" fmla="*/ 0 h 101"/>
                <a:gd name="T26" fmla="*/ 68 w 85"/>
                <a:gd name="T27" fmla="*/ 5 h 101"/>
                <a:gd name="T28" fmla="*/ 85 w 85"/>
                <a:gd name="T29" fmla="*/ 21 h 101"/>
                <a:gd name="T30" fmla="*/ 68 w 85"/>
                <a:gd name="T31" fmla="*/ 38 h 101"/>
                <a:gd name="T32" fmla="*/ 63 w 85"/>
                <a:gd name="T33" fmla="*/ 33 h 101"/>
                <a:gd name="T34" fmla="*/ 58 w 85"/>
                <a:gd name="T35" fmla="*/ 28 h 101"/>
                <a:gd name="T36" fmla="*/ 53 w 85"/>
                <a:gd name="T37" fmla="*/ 26 h 101"/>
                <a:gd name="T38" fmla="*/ 46 w 85"/>
                <a:gd name="T39" fmla="*/ 25 h 101"/>
                <a:gd name="T40" fmla="*/ 37 w 85"/>
                <a:gd name="T41" fmla="*/ 26 h 101"/>
                <a:gd name="T42" fmla="*/ 31 w 85"/>
                <a:gd name="T43" fmla="*/ 32 h 101"/>
                <a:gd name="T44" fmla="*/ 27 w 85"/>
                <a:gd name="T45" fmla="*/ 40 h 101"/>
                <a:gd name="T46" fmla="*/ 26 w 85"/>
                <a:gd name="T47" fmla="*/ 51 h 101"/>
                <a:gd name="T48" fmla="*/ 27 w 85"/>
                <a:gd name="T49" fmla="*/ 61 h 101"/>
                <a:gd name="T50" fmla="*/ 31 w 85"/>
                <a:gd name="T51" fmla="*/ 69 h 101"/>
                <a:gd name="T52" fmla="*/ 37 w 85"/>
                <a:gd name="T53" fmla="*/ 75 h 101"/>
                <a:gd name="T54" fmla="*/ 46 w 85"/>
                <a:gd name="T55" fmla="*/ 77 h 101"/>
                <a:gd name="T56" fmla="*/ 52 w 85"/>
                <a:gd name="T57" fmla="*/ 76 h 101"/>
                <a:gd name="T58" fmla="*/ 58 w 85"/>
                <a:gd name="T59" fmla="*/ 73 h 101"/>
                <a:gd name="T60" fmla="*/ 64 w 85"/>
                <a:gd name="T61" fmla="*/ 69 h 101"/>
                <a:gd name="T62" fmla="*/ 69 w 85"/>
                <a:gd name="T63" fmla="*/ 64 h 101"/>
                <a:gd name="T64" fmla="*/ 85 w 85"/>
                <a:gd name="T65" fmla="*/ 8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5" h="101">
                  <a:moveTo>
                    <a:pt x="85" y="80"/>
                  </a:moveTo>
                  <a:cubicBezTo>
                    <a:pt x="83" y="83"/>
                    <a:pt x="80" y="86"/>
                    <a:pt x="77" y="88"/>
                  </a:cubicBezTo>
                  <a:cubicBezTo>
                    <a:pt x="75" y="91"/>
                    <a:pt x="72" y="93"/>
                    <a:pt x="69" y="95"/>
                  </a:cubicBezTo>
                  <a:cubicBezTo>
                    <a:pt x="65" y="97"/>
                    <a:pt x="62" y="98"/>
                    <a:pt x="58" y="100"/>
                  </a:cubicBezTo>
                  <a:cubicBezTo>
                    <a:pt x="54" y="101"/>
                    <a:pt x="50" y="101"/>
                    <a:pt x="45" y="101"/>
                  </a:cubicBezTo>
                  <a:cubicBezTo>
                    <a:pt x="39" y="101"/>
                    <a:pt x="33" y="100"/>
                    <a:pt x="27" y="98"/>
                  </a:cubicBezTo>
                  <a:cubicBezTo>
                    <a:pt x="22" y="95"/>
                    <a:pt x="17" y="92"/>
                    <a:pt x="13" y="87"/>
                  </a:cubicBezTo>
                  <a:cubicBezTo>
                    <a:pt x="9" y="83"/>
                    <a:pt x="5" y="77"/>
                    <a:pt x="3" y="71"/>
                  </a:cubicBezTo>
                  <a:cubicBezTo>
                    <a:pt x="1" y="65"/>
                    <a:pt x="0" y="58"/>
                    <a:pt x="0" y="51"/>
                  </a:cubicBezTo>
                  <a:cubicBezTo>
                    <a:pt x="0" y="43"/>
                    <a:pt x="1" y="36"/>
                    <a:pt x="3" y="30"/>
                  </a:cubicBezTo>
                  <a:cubicBezTo>
                    <a:pt x="5" y="24"/>
                    <a:pt x="9" y="19"/>
                    <a:pt x="13" y="14"/>
                  </a:cubicBezTo>
                  <a:cubicBezTo>
                    <a:pt x="17" y="10"/>
                    <a:pt x="22" y="6"/>
                    <a:pt x="28" y="4"/>
                  </a:cubicBezTo>
                  <a:cubicBezTo>
                    <a:pt x="33" y="1"/>
                    <a:pt x="39" y="0"/>
                    <a:pt x="46" y="0"/>
                  </a:cubicBezTo>
                  <a:cubicBezTo>
                    <a:pt x="54" y="0"/>
                    <a:pt x="62" y="2"/>
                    <a:pt x="68" y="5"/>
                  </a:cubicBezTo>
                  <a:cubicBezTo>
                    <a:pt x="74" y="9"/>
                    <a:pt x="80" y="14"/>
                    <a:pt x="85" y="21"/>
                  </a:cubicBezTo>
                  <a:cubicBezTo>
                    <a:pt x="68" y="38"/>
                    <a:pt x="68" y="38"/>
                    <a:pt x="68" y="38"/>
                  </a:cubicBezTo>
                  <a:cubicBezTo>
                    <a:pt x="66" y="36"/>
                    <a:pt x="65" y="35"/>
                    <a:pt x="63" y="33"/>
                  </a:cubicBezTo>
                  <a:cubicBezTo>
                    <a:pt x="62" y="31"/>
                    <a:pt x="60" y="30"/>
                    <a:pt x="58" y="28"/>
                  </a:cubicBezTo>
                  <a:cubicBezTo>
                    <a:pt x="57" y="27"/>
                    <a:pt x="55" y="26"/>
                    <a:pt x="53" y="26"/>
                  </a:cubicBezTo>
                  <a:cubicBezTo>
                    <a:pt x="51" y="25"/>
                    <a:pt x="48" y="25"/>
                    <a:pt x="46" y="25"/>
                  </a:cubicBezTo>
                  <a:cubicBezTo>
                    <a:pt x="43" y="25"/>
                    <a:pt x="40" y="25"/>
                    <a:pt x="37" y="26"/>
                  </a:cubicBezTo>
                  <a:cubicBezTo>
                    <a:pt x="35" y="28"/>
                    <a:pt x="33" y="29"/>
                    <a:pt x="31" y="32"/>
                  </a:cubicBezTo>
                  <a:cubicBezTo>
                    <a:pt x="29" y="34"/>
                    <a:pt x="28" y="37"/>
                    <a:pt x="27" y="40"/>
                  </a:cubicBezTo>
                  <a:cubicBezTo>
                    <a:pt x="26" y="43"/>
                    <a:pt x="26" y="47"/>
                    <a:pt x="26" y="51"/>
                  </a:cubicBezTo>
                  <a:cubicBezTo>
                    <a:pt x="26" y="55"/>
                    <a:pt x="26" y="58"/>
                    <a:pt x="27" y="61"/>
                  </a:cubicBezTo>
                  <a:cubicBezTo>
                    <a:pt x="28" y="64"/>
                    <a:pt x="29" y="67"/>
                    <a:pt x="31" y="69"/>
                  </a:cubicBezTo>
                  <a:cubicBezTo>
                    <a:pt x="33" y="72"/>
                    <a:pt x="35" y="73"/>
                    <a:pt x="37" y="75"/>
                  </a:cubicBezTo>
                  <a:cubicBezTo>
                    <a:pt x="40" y="76"/>
                    <a:pt x="43" y="77"/>
                    <a:pt x="46" y="77"/>
                  </a:cubicBezTo>
                  <a:cubicBezTo>
                    <a:pt x="48" y="77"/>
                    <a:pt x="50" y="76"/>
                    <a:pt x="52" y="76"/>
                  </a:cubicBezTo>
                  <a:cubicBezTo>
                    <a:pt x="55" y="75"/>
                    <a:pt x="57" y="74"/>
                    <a:pt x="58" y="73"/>
                  </a:cubicBezTo>
                  <a:cubicBezTo>
                    <a:pt x="60" y="72"/>
                    <a:pt x="62" y="71"/>
                    <a:pt x="64" y="69"/>
                  </a:cubicBezTo>
                  <a:cubicBezTo>
                    <a:pt x="65" y="68"/>
                    <a:pt x="67" y="66"/>
                    <a:pt x="69" y="64"/>
                  </a:cubicBezTo>
                  <a:lnTo>
                    <a:pt x="85" y="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30" name="Freeform 26">
              <a:extLst>
                <a:ext uri="{FF2B5EF4-FFF2-40B4-BE49-F238E27FC236}">
                  <a16:creationId xmlns:a16="http://schemas.microsoft.com/office/drawing/2014/main" id="{91225174-20DB-4A4F-A5BB-9A114EDC0F3E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297911" y="1406980"/>
              <a:ext cx="57529" cy="91524"/>
            </a:xfrm>
            <a:custGeom>
              <a:avLst/>
              <a:gdLst>
                <a:gd name="T0" fmla="*/ 59 w 84"/>
                <a:gd name="T1" fmla="*/ 135 h 135"/>
                <a:gd name="T2" fmla="*/ 59 w 84"/>
                <a:gd name="T3" fmla="*/ 83 h 135"/>
                <a:gd name="T4" fmla="*/ 55 w 84"/>
                <a:gd name="T5" fmla="*/ 66 h 135"/>
                <a:gd name="T6" fmla="*/ 42 w 84"/>
                <a:gd name="T7" fmla="*/ 60 h 135"/>
                <a:gd name="T8" fmla="*/ 35 w 84"/>
                <a:gd name="T9" fmla="*/ 61 h 135"/>
                <a:gd name="T10" fmla="*/ 30 w 84"/>
                <a:gd name="T11" fmla="*/ 65 h 135"/>
                <a:gd name="T12" fmla="*/ 27 w 84"/>
                <a:gd name="T13" fmla="*/ 71 h 135"/>
                <a:gd name="T14" fmla="*/ 25 w 84"/>
                <a:gd name="T15" fmla="*/ 82 h 135"/>
                <a:gd name="T16" fmla="*/ 25 w 84"/>
                <a:gd name="T17" fmla="*/ 135 h 135"/>
                <a:gd name="T18" fmla="*/ 0 w 84"/>
                <a:gd name="T19" fmla="*/ 135 h 135"/>
                <a:gd name="T20" fmla="*/ 0 w 84"/>
                <a:gd name="T21" fmla="*/ 13 h 135"/>
                <a:gd name="T22" fmla="*/ 25 w 84"/>
                <a:gd name="T23" fmla="*/ 0 h 135"/>
                <a:gd name="T24" fmla="*/ 25 w 84"/>
                <a:gd name="T25" fmla="*/ 44 h 135"/>
                <a:gd name="T26" fmla="*/ 29 w 84"/>
                <a:gd name="T27" fmla="*/ 41 h 135"/>
                <a:gd name="T28" fmla="*/ 35 w 84"/>
                <a:gd name="T29" fmla="*/ 38 h 135"/>
                <a:gd name="T30" fmla="*/ 41 w 84"/>
                <a:gd name="T31" fmla="*/ 37 h 135"/>
                <a:gd name="T32" fmla="*/ 48 w 84"/>
                <a:gd name="T33" fmla="*/ 36 h 135"/>
                <a:gd name="T34" fmla="*/ 64 w 84"/>
                <a:gd name="T35" fmla="*/ 39 h 135"/>
                <a:gd name="T36" fmla="*/ 75 w 84"/>
                <a:gd name="T37" fmla="*/ 48 h 135"/>
                <a:gd name="T38" fmla="*/ 82 w 84"/>
                <a:gd name="T39" fmla="*/ 62 h 135"/>
                <a:gd name="T40" fmla="*/ 84 w 84"/>
                <a:gd name="T41" fmla="*/ 80 h 135"/>
                <a:gd name="T42" fmla="*/ 84 w 84"/>
                <a:gd name="T43" fmla="*/ 135 h 135"/>
                <a:gd name="T44" fmla="*/ 59 w 84"/>
                <a:gd name="T45" fmla="*/ 135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4" h="135">
                  <a:moveTo>
                    <a:pt x="59" y="135"/>
                  </a:moveTo>
                  <a:cubicBezTo>
                    <a:pt x="59" y="83"/>
                    <a:pt x="59" y="83"/>
                    <a:pt x="59" y="83"/>
                  </a:cubicBezTo>
                  <a:cubicBezTo>
                    <a:pt x="59" y="75"/>
                    <a:pt x="57" y="69"/>
                    <a:pt x="55" y="66"/>
                  </a:cubicBezTo>
                  <a:cubicBezTo>
                    <a:pt x="52" y="62"/>
                    <a:pt x="48" y="60"/>
                    <a:pt x="42" y="60"/>
                  </a:cubicBezTo>
                  <a:cubicBezTo>
                    <a:pt x="39" y="60"/>
                    <a:pt x="37" y="60"/>
                    <a:pt x="35" y="61"/>
                  </a:cubicBezTo>
                  <a:cubicBezTo>
                    <a:pt x="33" y="62"/>
                    <a:pt x="31" y="63"/>
                    <a:pt x="30" y="65"/>
                  </a:cubicBezTo>
                  <a:cubicBezTo>
                    <a:pt x="28" y="66"/>
                    <a:pt x="27" y="69"/>
                    <a:pt x="27" y="71"/>
                  </a:cubicBezTo>
                  <a:cubicBezTo>
                    <a:pt x="26" y="74"/>
                    <a:pt x="25" y="78"/>
                    <a:pt x="25" y="82"/>
                  </a:cubicBezTo>
                  <a:cubicBezTo>
                    <a:pt x="25" y="135"/>
                    <a:pt x="25" y="135"/>
                    <a:pt x="25" y="135"/>
                  </a:cubicBezTo>
                  <a:cubicBezTo>
                    <a:pt x="0" y="135"/>
                    <a:pt x="0" y="135"/>
                    <a:pt x="0" y="135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44"/>
                    <a:pt x="25" y="44"/>
                    <a:pt x="25" y="44"/>
                  </a:cubicBezTo>
                  <a:cubicBezTo>
                    <a:pt x="27" y="43"/>
                    <a:pt x="28" y="42"/>
                    <a:pt x="29" y="41"/>
                  </a:cubicBezTo>
                  <a:cubicBezTo>
                    <a:pt x="31" y="40"/>
                    <a:pt x="33" y="39"/>
                    <a:pt x="35" y="38"/>
                  </a:cubicBezTo>
                  <a:cubicBezTo>
                    <a:pt x="37" y="38"/>
                    <a:pt x="39" y="37"/>
                    <a:pt x="41" y="37"/>
                  </a:cubicBezTo>
                  <a:cubicBezTo>
                    <a:pt x="43" y="36"/>
                    <a:pt x="46" y="36"/>
                    <a:pt x="48" y="36"/>
                  </a:cubicBezTo>
                  <a:cubicBezTo>
                    <a:pt x="54" y="36"/>
                    <a:pt x="60" y="37"/>
                    <a:pt x="64" y="39"/>
                  </a:cubicBezTo>
                  <a:cubicBezTo>
                    <a:pt x="69" y="41"/>
                    <a:pt x="73" y="44"/>
                    <a:pt x="75" y="48"/>
                  </a:cubicBezTo>
                  <a:cubicBezTo>
                    <a:pt x="78" y="52"/>
                    <a:pt x="81" y="56"/>
                    <a:pt x="82" y="62"/>
                  </a:cubicBezTo>
                  <a:cubicBezTo>
                    <a:pt x="83" y="67"/>
                    <a:pt x="84" y="74"/>
                    <a:pt x="84" y="80"/>
                  </a:cubicBezTo>
                  <a:cubicBezTo>
                    <a:pt x="84" y="135"/>
                    <a:pt x="84" y="135"/>
                    <a:pt x="84" y="135"/>
                  </a:cubicBezTo>
                  <a:lnTo>
                    <a:pt x="59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31" name="Freeform 27">
              <a:extLst>
                <a:ext uri="{FF2B5EF4-FFF2-40B4-BE49-F238E27FC236}">
                  <a16:creationId xmlns:a16="http://schemas.microsoft.com/office/drawing/2014/main" id="{43682DD6-D2ED-4863-B27B-40F3CBE0E381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372438" y="1406980"/>
              <a:ext cx="16998" cy="91524"/>
            </a:xfrm>
            <a:custGeom>
              <a:avLst/>
              <a:gdLst>
                <a:gd name="T0" fmla="*/ 0 w 13"/>
                <a:gd name="T1" fmla="*/ 70 h 70"/>
                <a:gd name="T2" fmla="*/ 0 w 13"/>
                <a:gd name="T3" fmla="*/ 6 h 70"/>
                <a:gd name="T4" fmla="*/ 13 w 13"/>
                <a:gd name="T5" fmla="*/ 0 h 70"/>
                <a:gd name="T6" fmla="*/ 13 w 13"/>
                <a:gd name="T7" fmla="*/ 70 h 70"/>
                <a:gd name="T8" fmla="*/ 0 w 13"/>
                <a:gd name="T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70">
                  <a:moveTo>
                    <a:pt x="0" y="70"/>
                  </a:moveTo>
                  <a:lnTo>
                    <a:pt x="0" y="6"/>
                  </a:lnTo>
                  <a:lnTo>
                    <a:pt x="13" y="0"/>
                  </a:lnTo>
                  <a:lnTo>
                    <a:pt x="13" y="70"/>
                  </a:lnTo>
                  <a:lnTo>
                    <a:pt x="0" y="7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32" name="Freeform 28">
              <a:extLst>
                <a:ext uri="{FF2B5EF4-FFF2-40B4-BE49-F238E27FC236}">
                  <a16:creationId xmlns:a16="http://schemas.microsoft.com/office/drawing/2014/main" id="{3D572001-B851-4D74-9AAD-13EE61D916F6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10403818" y="1430515"/>
              <a:ext cx="57529" cy="69297"/>
            </a:xfrm>
            <a:custGeom>
              <a:avLst/>
              <a:gdLst>
                <a:gd name="T0" fmla="*/ 58 w 83"/>
                <a:gd name="T1" fmla="*/ 99 h 101"/>
                <a:gd name="T2" fmla="*/ 58 w 83"/>
                <a:gd name="T3" fmla="*/ 93 h 101"/>
                <a:gd name="T4" fmla="*/ 54 w 83"/>
                <a:gd name="T5" fmla="*/ 96 h 101"/>
                <a:gd name="T6" fmla="*/ 49 w 83"/>
                <a:gd name="T7" fmla="*/ 99 h 101"/>
                <a:gd name="T8" fmla="*/ 42 w 83"/>
                <a:gd name="T9" fmla="*/ 101 h 101"/>
                <a:gd name="T10" fmla="*/ 36 w 83"/>
                <a:gd name="T11" fmla="*/ 101 h 101"/>
                <a:gd name="T12" fmla="*/ 23 w 83"/>
                <a:gd name="T13" fmla="*/ 99 h 101"/>
                <a:gd name="T14" fmla="*/ 11 w 83"/>
                <a:gd name="T15" fmla="*/ 93 h 101"/>
                <a:gd name="T16" fmla="*/ 3 w 83"/>
                <a:gd name="T17" fmla="*/ 82 h 101"/>
                <a:gd name="T18" fmla="*/ 0 w 83"/>
                <a:gd name="T19" fmla="*/ 67 h 101"/>
                <a:gd name="T20" fmla="*/ 3 w 83"/>
                <a:gd name="T21" fmla="*/ 53 h 101"/>
                <a:gd name="T22" fmla="*/ 11 w 83"/>
                <a:gd name="T23" fmla="*/ 42 h 101"/>
                <a:gd name="T24" fmla="*/ 24 w 83"/>
                <a:gd name="T25" fmla="*/ 36 h 101"/>
                <a:gd name="T26" fmla="*/ 39 w 83"/>
                <a:gd name="T27" fmla="*/ 34 h 101"/>
                <a:gd name="T28" fmla="*/ 50 w 83"/>
                <a:gd name="T29" fmla="*/ 36 h 101"/>
                <a:gd name="T30" fmla="*/ 58 w 83"/>
                <a:gd name="T31" fmla="*/ 38 h 101"/>
                <a:gd name="T32" fmla="*/ 58 w 83"/>
                <a:gd name="T33" fmla="*/ 33 h 101"/>
                <a:gd name="T34" fmla="*/ 54 w 83"/>
                <a:gd name="T35" fmla="*/ 25 h 101"/>
                <a:gd name="T36" fmla="*/ 44 w 83"/>
                <a:gd name="T37" fmla="*/ 21 h 101"/>
                <a:gd name="T38" fmla="*/ 30 w 83"/>
                <a:gd name="T39" fmla="*/ 22 h 101"/>
                <a:gd name="T40" fmla="*/ 17 w 83"/>
                <a:gd name="T41" fmla="*/ 27 h 101"/>
                <a:gd name="T42" fmla="*/ 7 w 83"/>
                <a:gd name="T43" fmla="*/ 10 h 101"/>
                <a:gd name="T44" fmla="*/ 25 w 83"/>
                <a:gd name="T45" fmla="*/ 2 h 101"/>
                <a:gd name="T46" fmla="*/ 44 w 83"/>
                <a:gd name="T47" fmla="*/ 0 h 101"/>
                <a:gd name="T48" fmla="*/ 60 w 83"/>
                <a:gd name="T49" fmla="*/ 2 h 101"/>
                <a:gd name="T50" fmla="*/ 72 w 83"/>
                <a:gd name="T51" fmla="*/ 9 h 101"/>
                <a:gd name="T52" fmla="*/ 80 w 83"/>
                <a:gd name="T53" fmla="*/ 19 h 101"/>
                <a:gd name="T54" fmla="*/ 83 w 83"/>
                <a:gd name="T55" fmla="*/ 34 h 101"/>
                <a:gd name="T56" fmla="*/ 83 w 83"/>
                <a:gd name="T57" fmla="*/ 99 h 101"/>
                <a:gd name="T58" fmla="*/ 58 w 83"/>
                <a:gd name="T59" fmla="*/ 99 h 101"/>
                <a:gd name="T60" fmla="*/ 58 w 83"/>
                <a:gd name="T61" fmla="*/ 58 h 101"/>
                <a:gd name="T62" fmla="*/ 54 w 83"/>
                <a:gd name="T63" fmla="*/ 57 h 101"/>
                <a:gd name="T64" fmla="*/ 51 w 83"/>
                <a:gd name="T65" fmla="*/ 55 h 101"/>
                <a:gd name="T66" fmla="*/ 46 w 83"/>
                <a:gd name="T67" fmla="*/ 55 h 101"/>
                <a:gd name="T68" fmla="*/ 40 w 83"/>
                <a:gd name="T69" fmla="*/ 54 h 101"/>
                <a:gd name="T70" fmla="*/ 29 w 83"/>
                <a:gd name="T71" fmla="*/ 58 h 101"/>
                <a:gd name="T72" fmla="*/ 25 w 83"/>
                <a:gd name="T73" fmla="*/ 67 h 101"/>
                <a:gd name="T74" fmla="*/ 26 w 83"/>
                <a:gd name="T75" fmla="*/ 71 h 101"/>
                <a:gd name="T76" fmla="*/ 28 w 83"/>
                <a:gd name="T77" fmla="*/ 76 h 101"/>
                <a:gd name="T78" fmla="*/ 33 w 83"/>
                <a:gd name="T79" fmla="*/ 78 h 101"/>
                <a:gd name="T80" fmla="*/ 40 w 83"/>
                <a:gd name="T81" fmla="*/ 80 h 101"/>
                <a:gd name="T82" fmla="*/ 46 w 83"/>
                <a:gd name="T83" fmla="*/ 79 h 101"/>
                <a:gd name="T84" fmla="*/ 51 w 83"/>
                <a:gd name="T85" fmla="*/ 77 h 101"/>
                <a:gd name="T86" fmla="*/ 55 w 83"/>
                <a:gd name="T87" fmla="*/ 74 h 101"/>
                <a:gd name="T88" fmla="*/ 58 w 83"/>
                <a:gd name="T89" fmla="*/ 71 h 101"/>
                <a:gd name="T90" fmla="*/ 58 w 83"/>
                <a:gd name="T91" fmla="*/ 5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83" h="101">
                  <a:moveTo>
                    <a:pt x="58" y="99"/>
                  </a:moveTo>
                  <a:cubicBezTo>
                    <a:pt x="58" y="93"/>
                    <a:pt x="58" y="93"/>
                    <a:pt x="58" y="93"/>
                  </a:cubicBezTo>
                  <a:cubicBezTo>
                    <a:pt x="57" y="94"/>
                    <a:pt x="55" y="95"/>
                    <a:pt x="54" y="96"/>
                  </a:cubicBezTo>
                  <a:cubicBezTo>
                    <a:pt x="52" y="97"/>
                    <a:pt x="51" y="98"/>
                    <a:pt x="49" y="99"/>
                  </a:cubicBezTo>
                  <a:cubicBezTo>
                    <a:pt x="47" y="100"/>
                    <a:pt x="44" y="100"/>
                    <a:pt x="42" y="101"/>
                  </a:cubicBezTo>
                  <a:cubicBezTo>
                    <a:pt x="40" y="101"/>
                    <a:pt x="38" y="101"/>
                    <a:pt x="36" y="101"/>
                  </a:cubicBezTo>
                  <a:cubicBezTo>
                    <a:pt x="31" y="101"/>
                    <a:pt x="27" y="100"/>
                    <a:pt x="23" y="99"/>
                  </a:cubicBezTo>
                  <a:cubicBezTo>
                    <a:pt x="18" y="98"/>
                    <a:pt x="14" y="96"/>
                    <a:pt x="11" y="93"/>
                  </a:cubicBezTo>
                  <a:cubicBezTo>
                    <a:pt x="8" y="90"/>
                    <a:pt x="5" y="86"/>
                    <a:pt x="3" y="82"/>
                  </a:cubicBezTo>
                  <a:cubicBezTo>
                    <a:pt x="1" y="78"/>
                    <a:pt x="0" y="73"/>
                    <a:pt x="0" y="67"/>
                  </a:cubicBezTo>
                  <a:cubicBezTo>
                    <a:pt x="0" y="61"/>
                    <a:pt x="1" y="57"/>
                    <a:pt x="3" y="53"/>
                  </a:cubicBezTo>
                  <a:cubicBezTo>
                    <a:pt x="5" y="48"/>
                    <a:pt x="8" y="45"/>
                    <a:pt x="11" y="42"/>
                  </a:cubicBezTo>
                  <a:cubicBezTo>
                    <a:pt x="15" y="40"/>
                    <a:pt x="19" y="38"/>
                    <a:pt x="24" y="36"/>
                  </a:cubicBezTo>
                  <a:cubicBezTo>
                    <a:pt x="28" y="35"/>
                    <a:pt x="33" y="34"/>
                    <a:pt x="39" y="34"/>
                  </a:cubicBezTo>
                  <a:cubicBezTo>
                    <a:pt x="43" y="34"/>
                    <a:pt x="47" y="35"/>
                    <a:pt x="50" y="36"/>
                  </a:cubicBezTo>
                  <a:cubicBezTo>
                    <a:pt x="53" y="36"/>
                    <a:pt x="56" y="37"/>
                    <a:pt x="58" y="38"/>
                  </a:cubicBezTo>
                  <a:cubicBezTo>
                    <a:pt x="58" y="33"/>
                    <a:pt x="58" y="33"/>
                    <a:pt x="58" y="33"/>
                  </a:cubicBezTo>
                  <a:cubicBezTo>
                    <a:pt x="58" y="30"/>
                    <a:pt x="56" y="27"/>
                    <a:pt x="54" y="25"/>
                  </a:cubicBezTo>
                  <a:cubicBezTo>
                    <a:pt x="52" y="22"/>
                    <a:pt x="48" y="21"/>
                    <a:pt x="44" y="21"/>
                  </a:cubicBezTo>
                  <a:cubicBezTo>
                    <a:pt x="38" y="21"/>
                    <a:pt x="33" y="21"/>
                    <a:pt x="30" y="22"/>
                  </a:cubicBezTo>
                  <a:cubicBezTo>
                    <a:pt x="26" y="23"/>
                    <a:pt x="22" y="25"/>
                    <a:pt x="17" y="27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14" y="6"/>
                    <a:pt x="19" y="4"/>
                    <a:pt x="25" y="2"/>
                  </a:cubicBezTo>
                  <a:cubicBezTo>
                    <a:pt x="30" y="1"/>
                    <a:pt x="37" y="0"/>
                    <a:pt x="44" y="0"/>
                  </a:cubicBezTo>
                  <a:cubicBezTo>
                    <a:pt x="50" y="0"/>
                    <a:pt x="55" y="1"/>
                    <a:pt x="60" y="2"/>
                  </a:cubicBezTo>
                  <a:cubicBezTo>
                    <a:pt x="65" y="4"/>
                    <a:pt x="69" y="6"/>
                    <a:pt x="72" y="9"/>
                  </a:cubicBezTo>
                  <a:cubicBezTo>
                    <a:pt x="76" y="12"/>
                    <a:pt x="79" y="15"/>
                    <a:pt x="80" y="19"/>
                  </a:cubicBezTo>
                  <a:cubicBezTo>
                    <a:pt x="82" y="24"/>
                    <a:pt x="83" y="29"/>
                    <a:pt x="83" y="34"/>
                  </a:cubicBezTo>
                  <a:cubicBezTo>
                    <a:pt x="83" y="99"/>
                    <a:pt x="83" y="99"/>
                    <a:pt x="83" y="99"/>
                  </a:cubicBezTo>
                  <a:lnTo>
                    <a:pt x="58" y="99"/>
                  </a:lnTo>
                  <a:close/>
                  <a:moveTo>
                    <a:pt x="58" y="58"/>
                  </a:moveTo>
                  <a:cubicBezTo>
                    <a:pt x="57" y="58"/>
                    <a:pt x="55" y="57"/>
                    <a:pt x="54" y="57"/>
                  </a:cubicBezTo>
                  <a:cubicBezTo>
                    <a:pt x="53" y="56"/>
                    <a:pt x="52" y="56"/>
                    <a:pt x="51" y="55"/>
                  </a:cubicBezTo>
                  <a:cubicBezTo>
                    <a:pt x="49" y="55"/>
                    <a:pt x="48" y="55"/>
                    <a:pt x="46" y="55"/>
                  </a:cubicBezTo>
                  <a:cubicBezTo>
                    <a:pt x="44" y="54"/>
                    <a:pt x="42" y="54"/>
                    <a:pt x="40" y="54"/>
                  </a:cubicBezTo>
                  <a:cubicBezTo>
                    <a:pt x="35" y="54"/>
                    <a:pt x="31" y="55"/>
                    <a:pt x="29" y="58"/>
                  </a:cubicBezTo>
                  <a:cubicBezTo>
                    <a:pt x="26" y="60"/>
                    <a:pt x="25" y="63"/>
                    <a:pt x="25" y="67"/>
                  </a:cubicBezTo>
                  <a:cubicBezTo>
                    <a:pt x="25" y="68"/>
                    <a:pt x="25" y="70"/>
                    <a:pt x="26" y="71"/>
                  </a:cubicBezTo>
                  <a:cubicBezTo>
                    <a:pt x="26" y="73"/>
                    <a:pt x="27" y="74"/>
                    <a:pt x="28" y="76"/>
                  </a:cubicBezTo>
                  <a:cubicBezTo>
                    <a:pt x="30" y="77"/>
                    <a:pt x="31" y="78"/>
                    <a:pt x="33" y="78"/>
                  </a:cubicBezTo>
                  <a:cubicBezTo>
                    <a:pt x="35" y="79"/>
                    <a:pt x="37" y="80"/>
                    <a:pt x="40" y="80"/>
                  </a:cubicBezTo>
                  <a:cubicBezTo>
                    <a:pt x="42" y="80"/>
                    <a:pt x="44" y="79"/>
                    <a:pt x="46" y="79"/>
                  </a:cubicBezTo>
                  <a:cubicBezTo>
                    <a:pt x="48" y="78"/>
                    <a:pt x="49" y="78"/>
                    <a:pt x="51" y="77"/>
                  </a:cubicBezTo>
                  <a:cubicBezTo>
                    <a:pt x="52" y="76"/>
                    <a:pt x="54" y="75"/>
                    <a:pt x="55" y="74"/>
                  </a:cubicBezTo>
                  <a:cubicBezTo>
                    <a:pt x="56" y="73"/>
                    <a:pt x="57" y="72"/>
                    <a:pt x="58" y="71"/>
                  </a:cubicBezTo>
                  <a:lnTo>
                    <a:pt x="58" y="5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33" name="Freeform 29">
              <a:extLst>
                <a:ext uri="{FF2B5EF4-FFF2-40B4-BE49-F238E27FC236}">
                  <a16:creationId xmlns:a16="http://schemas.microsoft.com/office/drawing/2014/main" id="{A827519A-33F0-4CCB-AE07-C95A795FF2FB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477037" y="1430515"/>
              <a:ext cx="57529" cy="67989"/>
            </a:xfrm>
            <a:custGeom>
              <a:avLst/>
              <a:gdLst>
                <a:gd name="T0" fmla="*/ 59 w 84"/>
                <a:gd name="T1" fmla="*/ 99 h 99"/>
                <a:gd name="T2" fmla="*/ 59 w 84"/>
                <a:gd name="T3" fmla="*/ 47 h 99"/>
                <a:gd name="T4" fmla="*/ 55 w 84"/>
                <a:gd name="T5" fmla="*/ 30 h 99"/>
                <a:gd name="T6" fmla="*/ 42 w 84"/>
                <a:gd name="T7" fmla="*/ 24 h 99"/>
                <a:gd name="T8" fmla="*/ 35 w 84"/>
                <a:gd name="T9" fmla="*/ 25 h 99"/>
                <a:gd name="T10" fmla="*/ 30 w 84"/>
                <a:gd name="T11" fmla="*/ 29 h 99"/>
                <a:gd name="T12" fmla="*/ 27 w 84"/>
                <a:gd name="T13" fmla="*/ 35 h 99"/>
                <a:gd name="T14" fmla="*/ 26 w 84"/>
                <a:gd name="T15" fmla="*/ 46 h 99"/>
                <a:gd name="T16" fmla="*/ 26 w 84"/>
                <a:gd name="T17" fmla="*/ 99 h 99"/>
                <a:gd name="T18" fmla="*/ 0 w 84"/>
                <a:gd name="T19" fmla="*/ 99 h 99"/>
                <a:gd name="T20" fmla="*/ 0 w 84"/>
                <a:gd name="T21" fmla="*/ 2 h 99"/>
                <a:gd name="T22" fmla="*/ 26 w 84"/>
                <a:gd name="T23" fmla="*/ 2 h 99"/>
                <a:gd name="T24" fmla="*/ 26 w 84"/>
                <a:gd name="T25" fmla="*/ 8 h 99"/>
                <a:gd name="T26" fmla="*/ 30 w 84"/>
                <a:gd name="T27" fmla="*/ 5 h 99"/>
                <a:gd name="T28" fmla="*/ 35 w 84"/>
                <a:gd name="T29" fmla="*/ 2 h 99"/>
                <a:gd name="T30" fmla="*/ 41 w 84"/>
                <a:gd name="T31" fmla="*/ 1 h 99"/>
                <a:gd name="T32" fmla="*/ 48 w 84"/>
                <a:gd name="T33" fmla="*/ 0 h 99"/>
                <a:gd name="T34" fmla="*/ 64 w 84"/>
                <a:gd name="T35" fmla="*/ 3 h 99"/>
                <a:gd name="T36" fmla="*/ 76 w 84"/>
                <a:gd name="T37" fmla="*/ 12 h 99"/>
                <a:gd name="T38" fmla="*/ 82 w 84"/>
                <a:gd name="T39" fmla="*/ 26 h 99"/>
                <a:gd name="T40" fmla="*/ 84 w 84"/>
                <a:gd name="T41" fmla="*/ 44 h 99"/>
                <a:gd name="T42" fmla="*/ 84 w 84"/>
                <a:gd name="T43" fmla="*/ 99 h 99"/>
                <a:gd name="T44" fmla="*/ 59 w 84"/>
                <a:gd name="T45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4" h="99">
                  <a:moveTo>
                    <a:pt x="59" y="99"/>
                  </a:moveTo>
                  <a:cubicBezTo>
                    <a:pt x="59" y="47"/>
                    <a:pt x="59" y="47"/>
                    <a:pt x="59" y="47"/>
                  </a:cubicBezTo>
                  <a:cubicBezTo>
                    <a:pt x="59" y="39"/>
                    <a:pt x="58" y="33"/>
                    <a:pt x="55" y="30"/>
                  </a:cubicBezTo>
                  <a:cubicBezTo>
                    <a:pt x="53" y="26"/>
                    <a:pt x="48" y="24"/>
                    <a:pt x="42" y="24"/>
                  </a:cubicBezTo>
                  <a:cubicBezTo>
                    <a:pt x="40" y="24"/>
                    <a:pt x="37" y="24"/>
                    <a:pt x="35" y="25"/>
                  </a:cubicBezTo>
                  <a:cubicBezTo>
                    <a:pt x="33" y="26"/>
                    <a:pt x="31" y="27"/>
                    <a:pt x="30" y="29"/>
                  </a:cubicBezTo>
                  <a:cubicBezTo>
                    <a:pt x="29" y="30"/>
                    <a:pt x="28" y="33"/>
                    <a:pt x="27" y="35"/>
                  </a:cubicBezTo>
                  <a:cubicBezTo>
                    <a:pt x="26" y="38"/>
                    <a:pt x="26" y="42"/>
                    <a:pt x="26" y="46"/>
                  </a:cubicBezTo>
                  <a:cubicBezTo>
                    <a:pt x="26" y="99"/>
                    <a:pt x="26" y="99"/>
                    <a:pt x="26" y="99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7" y="7"/>
                    <a:pt x="28" y="6"/>
                    <a:pt x="30" y="5"/>
                  </a:cubicBezTo>
                  <a:cubicBezTo>
                    <a:pt x="31" y="4"/>
                    <a:pt x="33" y="3"/>
                    <a:pt x="35" y="2"/>
                  </a:cubicBezTo>
                  <a:cubicBezTo>
                    <a:pt x="37" y="2"/>
                    <a:pt x="39" y="1"/>
                    <a:pt x="41" y="1"/>
                  </a:cubicBezTo>
                  <a:cubicBezTo>
                    <a:pt x="44" y="0"/>
                    <a:pt x="46" y="0"/>
                    <a:pt x="48" y="0"/>
                  </a:cubicBezTo>
                  <a:cubicBezTo>
                    <a:pt x="55" y="0"/>
                    <a:pt x="60" y="1"/>
                    <a:pt x="64" y="3"/>
                  </a:cubicBezTo>
                  <a:cubicBezTo>
                    <a:pt x="69" y="5"/>
                    <a:pt x="73" y="8"/>
                    <a:pt x="76" y="12"/>
                  </a:cubicBezTo>
                  <a:cubicBezTo>
                    <a:pt x="79" y="16"/>
                    <a:pt x="81" y="20"/>
                    <a:pt x="82" y="26"/>
                  </a:cubicBezTo>
                  <a:cubicBezTo>
                    <a:pt x="84" y="31"/>
                    <a:pt x="84" y="38"/>
                    <a:pt x="84" y="44"/>
                  </a:cubicBezTo>
                  <a:cubicBezTo>
                    <a:pt x="84" y="99"/>
                    <a:pt x="84" y="99"/>
                    <a:pt x="84" y="99"/>
                  </a:cubicBezTo>
                  <a:lnTo>
                    <a:pt x="59" y="9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30">
              <a:extLst>
                <a:ext uri="{FF2B5EF4-FFF2-40B4-BE49-F238E27FC236}">
                  <a16:creationId xmlns:a16="http://schemas.microsoft.com/office/drawing/2014/main" id="{4BC09A9F-8959-48BA-9B94-7840D333316F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10547642" y="1406980"/>
              <a:ext cx="57529" cy="92832"/>
            </a:xfrm>
            <a:custGeom>
              <a:avLst/>
              <a:gdLst>
                <a:gd name="T0" fmla="*/ 58 w 84"/>
                <a:gd name="T1" fmla="*/ 135 h 137"/>
                <a:gd name="T2" fmla="*/ 58 w 84"/>
                <a:gd name="T3" fmla="*/ 129 h 137"/>
                <a:gd name="T4" fmla="*/ 55 w 84"/>
                <a:gd name="T5" fmla="*/ 132 h 137"/>
                <a:gd name="T6" fmla="*/ 50 w 84"/>
                <a:gd name="T7" fmla="*/ 135 h 137"/>
                <a:gd name="T8" fmla="*/ 45 w 84"/>
                <a:gd name="T9" fmla="*/ 137 h 137"/>
                <a:gd name="T10" fmla="*/ 38 w 84"/>
                <a:gd name="T11" fmla="*/ 137 h 137"/>
                <a:gd name="T12" fmla="*/ 23 w 84"/>
                <a:gd name="T13" fmla="*/ 134 h 137"/>
                <a:gd name="T14" fmla="*/ 11 w 84"/>
                <a:gd name="T15" fmla="*/ 125 h 137"/>
                <a:gd name="T16" fmla="*/ 3 w 84"/>
                <a:gd name="T17" fmla="*/ 109 h 137"/>
                <a:gd name="T18" fmla="*/ 0 w 84"/>
                <a:gd name="T19" fmla="*/ 85 h 137"/>
                <a:gd name="T20" fmla="*/ 3 w 84"/>
                <a:gd name="T21" fmla="*/ 65 h 137"/>
                <a:gd name="T22" fmla="*/ 10 w 84"/>
                <a:gd name="T23" fmla="*/ 50 h 137"/>
                <a:gd name="T24" fmla="*/ 22 w 84"/>
                <a:gd name="T25" fmla="*/ 40 h 137"/>
                <a:gd name="T26" fmla="*/ 38 w 84"/>
                <a:gd name="T27" fmla="*/ 36 h 137"/>
                <a:gd name="T28" fmla="*/ 44 w 84"/>
                <a:gd name="T29" fmla="*/ 36 h 137"/>
                <a:gd name="T30" fmla="*/ 50 w 84"/>
                <a:gd name="T31" fmla="*/ 38 h 137"/>
                <a:gd name="T32" fmla="*/ 55 w 84"/>
                <a:gd name="T33" fmla="*/ 41 h 137"/>
                <a:gd name="T34" fmla="*/ 58 w 84"/>
                <a:gd name="T35" fmla="*/ 44 h 137"/>
                <a:gd name="T36" fmla="*/ 58 w 84"/>
                <a:gd name="T37" fmla="*/ 13 h 137"/>
                <a:gd name="T38" fmla="*/ 84 w 84"/>
                <a:gd name="T39" fmla="*/ 0 h 137"/>
                <a:gd name="T40" fmla="*/ 84 w 84"/>
                <a:gd name="T41" fmla="*/ 135 h 137"/>
                <a:gd name="T42" fmla="*/ 58 w 84"/>
                <a:gd name="T43" fmla="*/ 135 h 137"/>
                <a:gd name="T44" fmla="*/ 58 w 84"/>
                <a:gd name="T45" fmla="*/ 68 h 137"/>
                <a:gd name="T46" fmla="*/ 55 w 84"/>
                <a:gd name="T47" fmla="*/ 65 h 137"/>
                <a:gd name="T48" fmla="*/ 52 w 84"/>
                <a:gd name="T49" fmla="*/ 62 h 137"/>
                <a:gd name="T50" fmla="*/ 47 w 84"/>
                <a:gd name="T51" fmla="*/ 61 h 137"/>
                <a:gd name="T52" fmla="*/ 41 w 84"/>
                <a:gd name="T53" fmla="*/ 60 h 137"/>
                <a:gd name="T54" fmla="*/ 30 w 84"/>
                <a:gd name="T55" fmla="*/ 66 h 137"/>
                <a:gd name="T56" fmla="*/ 26 w 84"/>
                <a:gd name="T57" fmla="*/ 85 h 137"/>
                <a:gd name="T58" fmla="*/ 27 w 84"/>
                <a:gd name="T59" fmla="*/ 98 h 137"/>
                <a:gd name="T60" fmla="*/ 31 w 84"/>
                <a:gd name="T61" fmla="*/ 106 h 137"/>
                <a:gd name="T62" fmla="*/ 36 w 84"/>
                <a:gd name="T63" fmla="*/ 111 h 137"/>
                <a:gd name="T64" fmla="*/ 43 w 84"/>
                <a:gd name="T65" fmla="*/ 113 h 137"/>
                <a:gd name="T66" fmla="*/ 48 w 84"/>
                <a:gd name="T67" fmla="*/ 112 h 137"/>
                <a:gd name="T68" fmla="*/ 52 w 84"/>
                <a:gd name="T69" fmla="*/ 111 h 137"/>
                <a:gd name="T70" fmla="*/ 56 w 84"/>
                <a:gd name="T71" fmla="*/ 108 h 137"/>
                <a:gd name="T72" fmla="*/ 58 w 84"/>
                <a:gd name="T73" fmla="*/ 105 h 137"/>
                <a:gd name="T74" fmla="*/ 58 w 84"/>
                <a:gd name="T75" fmla="*/ 68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4" h="137">
                  <a:moveTo>
                    <a:pt x="58" y="135"/>
                  </a:moveTo>
                  <a:cubicBezTo>
                    <a:pt x="58" y="129"/>
                    <a:pt x="58" y="129"/>
                    <a:pt x="58" y="129"/>
                  </a:cubicBezTo>
                  <a:cubicBezTo>
                    <a:pt x="57" y="130"/>
                    <a:pt x="56" y="131"/>
                    <a:pt x="55" y="132"/>
                  </a:cubicBezTo>
                  <a:cubicBezTo>
                    <a:pt x="53" y="133"/>
                    <a:pt x="52" y="134"/>
                    <a:pt x="50" y="135"/>
                  </a:cubicBezTo>
                  <a:cubicBezTo>
                    <a:pt x="48" y="136"/>
                    <a:pt x="47" y="136"/>
                    <a:pt x="45" y="137"/>
                  </a:cubicBezTo>
                  <a:cubicBezTo>
                    <a:pt x="43" y="137"/>
                    <a:pt x="40" y="137"/>
                    <a:pt x="38" y="137"/>
                  </a:cubicBezTo>
                  <a:cubicBezTo>
                    <a:pt x="33" y="137"/>
                    <a:pt x="28" y="136"/>
                    <a:pt x="23" y="134"/>
                  </a:cubicBezTo>
                  <a:cubicBezTo>
                    <a:pt x="19" y="132"/>
                    <a:pt x="15" y="129"/>
                    <a:pt x="11" y="125"/>
                  </a:cubicBezTo>
                  <a:cubicBezTo>
                    <a:pt x="8" y="121"/>
                    <a:pt x="5" y="115"/>
                    <a:pt x="3" y="109"/>
                  </a:cubicBezTo>
                  <a:cubicBezTo>
                    <a:pt x="1" y="102"/>
                    <a:pt x="0" y="94"/>
                    <a:pt x="0" y="85"/>
                  </a:cubicBezTo>
                  <a:cubicBezTo>
                    <a:pt x="0" y="78"/>
                    <a:pt x="1" y="71"/>
                    <a:pt x="3" y="65"/>
                  </a:cubicBezTo>
                  <a:cubicBezTo>
                    <a:pt x="4" y="59"/>
                    <a:pt x="7" y="54"/>
                    <a:pt x="10" y="50"/>
                  </a:cubicBezTo>
                  <a:cubicBezTo>
                    <a:pt x="13" y="45"/>
                    <a:pt x="17" y="42"/>
                    <a:pt x="22" y="40"/>
                  </a:cubicBezTo>
                  <a:cubicBezTo>
                    <a:pt x="27" y="37"/>
                    <a:pt x="32" y="36"/>
                    <a:pt x="38" y="36"/>
                  </a:cubicBezTo>
                  <a:cubicBezTo>
                    <a:pt x="40" y="36"/>
                    <a:pt x="42" y="36"/>
                    <a:pt x="44" y="36"/>
                  </a:cubicBezTo>
                  <a:cubicBezTo>
                    <a:pt x="46" y="37"/>
                    <a:pt x="48" y="37"/>
                    <a:pt x="50" y="38"/>
                  </a:cubicBezTo>
                  <a:cubicBezTo>
                    <a:pt x="52" y="39"/>
                    <a:pt x="53" y="40"/>
                    <a:pt x="55" y="41"/>
                  </a:cubicBezTo>
                  <a:cubicBezTo>
                    <a:pt x="56" y="42"/>
                    <a:pt x="57" y="42"/>
                    <a:pt x="58" y="44"/>
                  </a:cubicBezTo>
                  <a:cubicBezTo>
                    <a:pt x="58" y="13"/>
                    <a:pt x="58" y="13"/>
                    <a:pt x="58" y="13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135"/>
                    <a:pt x="84" y="135"/>
                    <a:pt x="84" y="135"/>
                  </a:cubicBezTo>
                  <a:lnTo>
                    <a:pt x="58" y="135"/>
                  </a:lnTo>
                  <a:close/>
                  <a:moveTo>
                    <a:pt x="58" y="68"/>
                  </a:moveTo>
                  <a:cubicBezTo>
                    <a:pt x="57" y="67"/>
                    <a:pt x="56" y="66"/>
                    <a:pt x="55" y="65"/>
                  </a:cubicBezTo>
                  <a:cubicBezTo>
                    <a:pt x="54" y="64"/>
                    <a:pt x="53" y="63"/>
                    <a:pt x="52" y="62"/>
                  </a:cubicBezTo>
                  <a:cubicBezTo>
                    <a:pt x="50" y="62"/>
                    <a:pt x="49" y="61"/>
                    <a:pt x="47" y="61"/>
                  </a:cubicBezTo>
                  <a:cubicBezTo>
                    <a:pt x="45" y="60"/>
                    <a:pt x="43" y="60"/>
                    <a:pt x="41" y="60"/>
                  </a:cubicBezTo>
                  <a:cubicBezTo>
                    <a:pt x="36" y="60"/>
                    <a:pt x="33" y="62"/>
                    <a:pt x="30" y="66"/>
                  </a:cubicBezTo>
                  <a:cubicBezTo>
                    <a:pt x="27" y="70"/>
                    <a:pt x="26" y="77"/>
                    <a:pt x="26" y="85"/>
                  </a:cubicBezTo>
                  <a:cubicBezTo>
                    <a:pt x="26" y="90"/>
                    <a:pt x="27" y="94"/>
                    <a:pt x="27" y="98"/>
                  </a:cubicBezTo>
                  <a:cubicBezTo>
                    <a:pt x="28" y="101"/>
                    <a:pt x="29" y="104"/>
                    <a:pt x="31" y="106"/>
                  </a:cubicBezTo>
                  <a:cubicBezTo>
                    <a:pt x="32" y="109"/>
                    <a:pt x="34" y="110"/>
                    <a:pt x="36" y="111"/>
                  </a:cubicBezTo>
                  <a:cubicBezTo>
                    <a:pt x="38" y="113"/>
                    <a:pt x="40" y="113"/>
                    <a:pt x="43" y="113"/>
                  </a:cubicBezTo>
                  <a:cubicBezTo>
                    <a:pt x="45" y="113"/>
                    <a:pt x="46" y="113"/>
                    <a:pt x="48" y="112"/>
                  </a:cubicBezTo>
                  <a:cubicBezTo>
                    <a:pt x="50" y="112"/>
                    <a:pt x="51" y="112"/>
                    <a:pt x="52" y="111"/>
                  </a:cubicBezTo>
                  <a:cubicBezTo>
                    <a:pt x="53" y="110"/>
                    <a:pt x="55" y="109"/>
                    <a:pt x="56" y="108"/>
                  </a:cubicBezTo>
                  <a:cubicBezTo>
                    <a:pt x="57" y="107"/>
                    <a:pt x="58" y="106"/>
                    <a:pt x="58" y="105"/>
                  </a:cubicBezTo>
                  <a:lnTo>
                    <a:pt x="58" y="6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35" name="Freeform 31">
              <a:extLst>
                <a:ext uri="{FF2B5EF4-FFF2-40B4-BE49-F238E27FC236}">
                  <a16:creationId xmlns:a16="http://schemas.microsoft.com/office/drawing/2014/main" id="{125CF3D1-4644-4A4C-A605-6CBB28099392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1214461" y="970279"/>
              <a:ext cx="83679" cy="112444"/>
            </a:xfrm>
            <a:custGeom>
              <a:avLst/>
              <a:gdLst>
                <a:gd name="T0" fmla="*/ 123 w 123"/>
                <a:gd name="T1" fmla="*/ 94 h 165"/>
                <a:gd name="T2" fmla="*/ 107 w 123"/>
                <a:gd name="T3" fmla="*/ 147 h 165"/>
                <a:gd name="T4" fmla="*/ 62 w 123"/>
                <a:gd name="T5" fmla="*/ 165 h 165"/>
                <a:gd name="T6" fmla="*/ 39 w 123"/>
                <a:gd name="T7" fmla="*/ 161 h 165"/>
                <a:gd name="T8" fmla="*/ 22 w 123"/>
                <a:gd name="T9" fmla="*/ 151 h 165"/>
                <a:gd name="T10" fmla="*/ 8 w 123"/>
                <a:gd name="T11" fmla="*/ 136 h 165"/>
                <a:gd name="T12" fmla="*/ 0 w 123"/>
                <a:gd name="T13" fmla="*/ 117 h 165"/>
                <a:gd name="T14" fmla="*/ 31 w 123"/>
                <a:gd name="T15" fmla="*/ 108 h 165"/>
                <a:gd name="T16" fmla="*/ 36 w 123"/>
                <a:gd name="T17" fmla="*/ 119 h 165"/>
                <a:gd name="T18" fmla="*/ 43 w 123"/>
                <a:gd name="T19" fmla="*/ 126 h 165"/>
                <a:gd name="T20" fmla="*/ 51 w 123"/>
                <a:gd name="T21" fmla="*/ 131 h 165"/>
                <a:gd name="T22" fmla="*/ 62 w 123"/>
                <a:gd name="T23" fmla="*/ 132 h 165"/>
                <a:gd name="T24" fmla="*/ 75 w 123"/>
                <a:gd name="T25" fmla="*/ 130 h 165"/>
                <a:gd name="T26" fmla="*/ 84 w 123"/>
                <a:gd name="T27" fmla="*/ 123 h 165"/>
                <a:gd name="T28" fmla="*/ 89 w 123"/>
                <a:gd name="T29" fmla="*/ 111 h 165"/>
                <a:gd name="T30" fmla="*/ 91 w 123"/>
                <a:gd name="T31" fmla="*/ 95 h 165"/>
                <a:gd name="T32" fmla="*/ 91 w 123"/>
                <a:gd name="T33" fmla="*/ 0 h 165"/>
                <a:gd name="T34" fmla="*/ 123 w 123"/>
                <a:gd name="T35" fmla="*/ 0 h 165"/>
                <a:gd name="T36" fmla="*/ 123 w 123"/>
                <a:gd name="T37" fmla="*/ 94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3" h="165">
                  <a:moveTo>
                    <a:pt x="123" y="94"/>
                  </a:moveTo>
                  <a:cubicBezTo>
                    <a:pt x="123" y="117"/>
                    <a:pt x="118" y="135"/>
                    <a:pt x="107" y="147"/>
                  </a:cubicBezTo>
                  <a:cubicBezTo>
                    <a:pt x="97" y="159"/>
                    <a:pt x="81" y="165"/>
                    <a:pt x="62" y="165"/>
                  </a:cubicBezTo>
                  <a:cubicBezTo>
                    <a:pt x="54" y="165"/>
                    <a:pt x="46" y="163"/>
                    <a:pt x="39" y="161"/>
                  </a:cubicBezTo>
                  <a:cubicBezTo>
                    <a:pt x="33" y="159"/>
                    <a:pt x="27" y="155"/>
                    <a:pt x="22" y="151"/>
                  </a:cubicBezTo>
                  <a:cubicBezTo>
                    <a:pt x="16" y="147"/>
                    <a:pt x="12" y="142"/>
                    <a:pt x="8" y="136"/>
                  </a:cubicBezTo>
                  <a:cubicBezTo>
                    <a:pt x="4" y="130"/>
                    <a:pt x="2" y="124"/>
                    <a:pt x="0" y="117"/>
                  </a:cubicBezTo>
                  <a:cubicBezTo>
                    <a:pt x="31" y="108"/>
                    <a:pt x="31" y="108"/>
                    <a:pt x="31" y="108"/>
                  </a:cubicBezTo>
                  <a:cubicBezTo>
                    <a:pt x="33" y="113"/>
                    <a:pt x="35" y="116"/>
                    <a:pt x="36" y="119"/>
                  </a:cubicBezTo>
                  <a:cubicBezTo>
                    <a:pt x="38" y="122"/>
                    <a:pt x="40" y="124"/>
                    <a:pt x="43" y="126"/>
                  </a:cubicBezTo>
                  <a:cubicBezTo>
                    <a:pt x="45" y="128"/>
                    <a:pt x="48" y="130"/>
                    <a:pt x="51" y="131"/>
                  </a:cubicBezTo>
                  <a:cubicBezTo>
                    <a:pt x="54" y="132"/>
                    <a:pt x="58" y="132"/>
                    <a:pt x="62" y="132"/>
                  </a:cubicBezTo>
                  <a:cubicBezTo>
                    <a:pt x="67" y="132"/>
                    <a:pt x="71" y="131"/>
                    <a:pt x="75" y="130"/>
                  </a:cubicBezTo>
                  <a:cubicBezTo>
                    <a:pt x="78" y="128"/>
                    <a:pt x="81" y="126"/>
                    <a:pt x="84" y="123"/>
                  </a:cubicBezTo>
                  <a:cubicBezTo>
                    <a:pt x="86" y="119"/>
                    <a:pt x="88" y="115"/>
                    <a:pt x="89" y="111"/>
                  </a:cubicBezTo>
                  <a:cubicBezTo>
                    <a:pt x="90" y="106"/>
                    <a:pt x="91" y="101"/>
                    <a:pt x="91" y="95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123" y="0"/>
                    <a:pt x="123" y="0"/>
                    <a:pt x="123" y="0"/>
                  </a:cubicBezTo>
                  <a:lnTo>
                    <a:pt x="123" y="9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36" name="Freeform 32">
              <a:extLst>
                <a:ext uri="{FF2B5EF4-FFF2-40B4-BE49-F238E27FC236}">
                  <a16:creationId xmlns:a16="http://schemas.microsoft.com/office/drawing/2014/main" id="{5C66EC1B-AD1B-491B-A19A-A2C96C78BC6A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11312522" y="970279"/>
              <a:ext cx="105907" cy="111137"/>
            </a:xfrm>
            <a:custGeom>
              <a:avLst/>
              <a:gdLst>
                <a:gd name="T0" fmla="*/ 81 w 81"/>
                <a:gd name="T1" fmla="*/ 85 h 85"/>
                <a:gd name="T2" fmla="*/ 63 w 81"/>
                <a:gd name="T3" fmla="*/ 85 h 85"/>
                <a:gd name="T4" fmla="*/ 56 w 81"/>
                <a:gd name="T5" fmla="*/ 66 h 85"/>
                <a:gd name="T6" fmla="*/ 24 w 81"/>
                <a:gd name="T7" fmla="*/ 66 h 85"/>
                <a:gd name="T8" fmla="*/ 18 w 81"/>
                <a:gd name="T9" fmla="*/ 85 h 85"/>
                <a:gd name="T10" fmla="*/ 0 w 81"/>
                <a:gd name="T11" fmla="*/ 85 h 85"/>
                <a:gd name="T12" fmla="*/ 32 w 81"/>
                <a:gd name="T13" fmla="*/ 0 h 85"/>
                <a:gd name="T14" fmla="*/ 49 w 81"/>
                <a:gd name="T15" fmla="*/ 0 h 85"/>
                <a:gd name="T16" fmla="*/ 81 w 81"/>
                <a:gd name="T17" fmla="*/ 85 h 85"/>
                <a:gd name="T18" fmla="*/ 50 w 81"/>
                <a:gd name="T19" fmla="*/ 50 h 85"/>
                <a:gd name="T20" fmla="*/ 40 w 81"/>
                <a:gd name="T21" fmla="*/ 22 h 85"/>
                <a:gd name="T22" fmla="*/ 31 w 81"/>
                <a:gd name="T23" fmla="*/ 50 h 85"/>
                <a:gd name="T24" fmla="*/ 50 w 81"/>
                <a:gd name="T25" fmla="*/ 5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1" h="85">
                  <a:moveTo>
                    <a:pt x="81" y="85"/>
                  </a:moveTo>
                  <a:lnTo>
                    <a:pt x="63" y="85"/>
                  </a:lnTo>
                  <a:lnTo>
                    <a:pt x="56" y="66"/>
                  </a:lnTo>
                  <a:lnTo>
                    <a:pt x="24" y="66"/>
                  </a:lnTo>
                  <a:lnTo>
                    <a:pt x="18" y="85"/>
                  </a:lnTo>
                  <a:lnTo>
                    <a:pt x="0" y="85"/>
                  </a:lnTo>
                  <a:lnTo>
                    <a:pt x="32" y="0"/>
                  </a:lnTo>
                  <a:lnTo>
                    <a:pt x="49" y="0"/>
                  </a:lnTo>
                  <a:lnTo>
                    <a:pt x="81" y="85"/>
                  </a:lnTo>
                  <a:close/>
                  <a:moveTo>
                    <a:pt x="50" y="50"/>
                  </a:moveTo>
                  <a:lnTo>
                    <a:pt x="40" y="22"/>
                  </a:lnTo>
                  <a:lnTo>
                    <a:pt x="31" y="50"/>
                  </a:lnTo>
                  <a:lnTo>
                    <a:pt x="50" y="5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33">
              <a:extLst>
                <a:ext uri="{FF2B5EF4-FFF2-40B4-BE49-F238E27FC236}">
                  <a16:creationId xmlns:a16="http://schemas.microsoft.com/office/drawing/2014/main" id="{DE0C7275-54C1-4C0E-A900-3BA9CF18FC7F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1439349" y="970279"/>
              <a:ext cx="88909" cy="111137"/>
            </a:xfrm>
            <a:custGeom>
              <a:avLst/>
              <a:gdLst>
                <a:gd name="T0" fmla="*/ 51 w 68"/>
                <a:gd name="T1" fmla="*/ 85 h 85"/>
                <a:gd name="T2" fmla="*/ 51 w 68"/>
                <a:gd name="T3" fmla="*/ 49 h 85"/>
                <a:gd name="T4" fmla="*/ 17 w 68"/>
                <a:gd name="T5" fmla="*/ 49 h 85"/>
                <a:gd name="T6" fmla="*/ 17 w 68"/>
                <a:gd name="T7" fmla="*/ 85 h 85"/>
                <a:gd name="T8" fmla="*/ 0 w 68"/>
                <a:gd name="T9" fmla="*/ 85 h 85"/>
                <a:gd name="T10" fmla="*/ 0 w 68"/>
                <a:gd name="T11" fmla="*/ 0 h 85"/>
                <a:gd name="T12" fmla="*/ 17 w 68"/>
                <a:gd name="T13" fmla="*/ 0 h 85"/>
                <a:gd name="T14" fmla="*/ 17 w 68"/>
                <a:gd name="T15" fmla="*/ 33 h 85"/>
                <a:gd name="T16" fmla="*/ 51 w 68"/>
                <a:gd name="T17" fmla="*/ 33 h 85"/>
                <a:gd name="T18" fmla="*/ 51 w 68"/>
                <a:gd name="T19" fmla="*/ 0 h 85"/>
                <a:gd name="T20" fmla="*/ 68 w 68"/>
                <a:gd name="T21" fmla="*/ 0 h 85"/>
                <a:gd name="T22" fmla="*/ 68 w 68"/>
                <a:gd name="T23" fmla="*/ 85 h 85"/>
                <a:gd name="T24" fmla="*/ 51 w 68"/>
                <a:gd name="T25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8" h="85">
                  <a:moveTo>
                    <a:pt x="51" y="85"/>
                  </a:moveTo>
                  <a:lnTo>
                    <a:pt x="51" y="49"/>
                  </a:lnTo>
                  <a:lnTo>
                    <a:pt x="17" y="49"/>
                  </a:lnTo>
                  <a:lnTo>
                    <a:pt x="17" y="85"/>
                  </a:lnTo>
                  <a:lnTo>
                    <a:pt x="0" y="85"/>
                  </a:lnTo>
                  <a:lnTo>
                    <a:pt x="0" y="0"/>
                  </a:lnTo>
                  <a:lnTo>
                    <a:pt x="17" y="0"/>
                  </a:lnTo>
                  <a:lnTo>
                    <a:pt x="17" y="33"/>
                  </a:lnTo>
                  <a:lnTo>
                    <a:pt x="51" y="33"/>
                  </a:lnTo>
                  <a:lnTo>
                    <a:pt x="51" y="0"/>
                  </a:lnTo>
                  <a:lnTo>
                    <a:pt x="68" y="0"/>
                  </a:lnTo>
                  <a:lnTo>
                    <a:pt x="68" y="85"/>
                  </a:lnTo>
                  <a:lnTo>
                    <a:pt x="51" y="8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38" name="Freeform 34">
              <a:extLst>
                <a:ext uri="{FF2B5EF4-FFF2-40B4-BE49-F238E27FC236}">
                  <a16:creationId xmlns:a16="http://schemas.microsoft.com/office/drawing/2014/main" id="{0A332B72-1C98-486F-B1D7-FD53CDB0B0EC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11557023" y="970279"/>
              <a:ext cx="90217" cy="111137"/>
            </a:xfrm>
            <a:custGeom>
              <a:avLst/>
              <a:gdLst>
                <a:gd name="T0" fmla="*/ 94 w 131"/>
                <a:gd name="T1" fmla="*/ 162 h 162"/>
                <a:gd name="T2" fmla="*/ 65 w 131"/>
                <a:gd name="T3" fmla="*/ 104 h 162"/>
                <a:gd name="T4" fmla="*/ 32 w 131"/>
                <a:gd name="T5" fmla="*/ 104 h 162"/>
                <a:gd name="T6" fmla="*/ 32 w 131"/>
                <a:gd name="T7" fmla="*/ 162 h 162"/>
                <a:gd name="T8" fmla="*/ 0 w 131"/>
                <a:gd name="T9" fmla="*/ 162 h 162"/>
                <a:gd name="T10" fmla="*/ 0 w 131"/>
                <a:gd name="T11" fmla="*/ 0 h 162"/>
                <a:gd name="T12" fmla="*/ 75 w 131"/>
                <a:gd name="T13" fmla="*/ 0 h 162"/>
                <a:gd name="T14" fmla="*/ 97 w 131"/>
                <a:gd name="T15" fmla="*/ 3 h 162"/>
                <a:gd name="T16" fmla="*/ 115 w 131"/>
                <a:gd name="T17" fmla="*/ 12 h 162"/>
                <a:gd name="T18" fmla="*/ 127 w 131"/>
                <a:gd name="T19" fmla="*/ 29 h 162"/>
                <a:gd name="T20" fmla="*/ 131 w 131"/>
                <a:gd name="T21" fmla="*/ 51 h 162"/>
                <a:gd name="T22" fmla="*/ 129 w 131"/>
                <a:gd name="T23" fmla="*/ 68 h 162"/>
                <a:gd name="T24" fmla="*/ 123 w 131"/>
                <a:gd name="T25" fmla="*/ 81 h 162"/>
                <a:gd name="T26" fmla="*/ 113 w 131"/>
                <a:gd name="T27" fmla="*/ 92 h 162"/>
                <a:gd name="T28" fmla="*/ 100 w 131"/>
                <a:gd name="T29" fmla="*/ 99 h 162"/>
                <a:gd name="T30" fmla="*/ 131 w 131"/>
                <a:gd name="T31" fmla="*/ 162 h 162"/>
                <a:gd name="T32" fmla="*/ 94 w 131"/>
                <a:gd name="T33" fmla="*/ 162 h 162"/>
                <a:gd name="T34" fmla="*/ 98 w 131"/>
                <a:gd name="T35" fmla="*/ 52 h 162"/>
                <a:gd name="T36" fmla="*/ 96 w 131"/>
                <a:gd name="T37" fmla="*/ 42 h 162"/>
                <a:gd name="T38" fmla="*/ 91 w 131"/>
                <a:gd name="T39" fmla="*/ 36 h 162"/>
                <a:gd name="T40" fmla="*/ 84 w 131"/>
                <a:gd name="T41" fmla="*/ 32 h 162"/>
                <a:gd name="T42" fmla="*/ 75 w 131"/>
                <a:gd name="T43" fmla="*/ 31 h 162"/>
                <a:gd name="T44" fmla="*/ 32 w 131"/>
                <a:gd name="T45" fmla="*/ 31 h 162"/>
                <a:gd name="T46" fmla="*/ 32 w 131"/>
                <a:gd name="T47" fmla="*/ 73 h 162"/>
                <a:gd name="T48" fmla="*/ 75 w 131"/>
                <a:gd name="T49" fmla="*/ 73 h 162"/>
                <a:gd name="T50" fmla="*/ 85 w 131"/>
                <a:gd name="T51" fmla="*/ 72 h 162"/>
                <a:gd name="T52" fmla="*/ 92 w 131"/>
                <a:gd name="T53" fmla="*/ 67 h 162"/>
                <a:gd name="T54" fmla="*/ 96 w 131"/>
                <a:gd name="T55" fmla="*/ 61 h 162"/>
                <a:gd name="T56" fmla="*/ 98 w 131"/>
                <a:gd name="T57" fmla="*/ 5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31" h="162">
                  <a:moveTo>
                    <a:pt x="94" y="162"/>
                  </a:moveTo>
                  <a:cubicBezTo>
                    <a:pt x="65" y="104"/>
                    <a:pt x="65" y="104"/>
                    <a:pt x="65" y="104"/>
                  </a:cubicBezTo>
                  <a:cubicBezTo>
                    <a:pt x="32" y="104"/>
                    <a:pt x="32" y="104"/>
                    <a:pt x="32" y="104"/>
                  </a:cubicBezTo>
                  <a:cubicBezTo>
                    <a:pt x="32" y="162"/>
                    <a:pt x="32" y="162"/>
                    <a:pt x="32" y="162"/>
                  </a:cubicBezTo>
                  <a:cubicBezTo>
                    <a:pt x="0" y="162"/>
                    <a:pt x="0" y="162"/>
                    <a:pt x="0" y="16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83" y="0"/>
                    <a:pt x="90" y="1"/>
                    <a:pt x="97" y="3"/>
                  </a:cubicBezTo>
                  <a:cubicBezTo>
                    <a:pt x="104" y="5"/>
                    <a:pt x="110" y="8"/>
                    <a:pt x="115" y="12"/>
                  </a:cubicBezTo>
                  <a:cubicBezTo>
                    <a:pt x="120" y="17"/>
                    <a:pt x="124" y="22"/>
                    <a:pt x="127" y="29"/>
                  </a:cubicBezTo>
                  <a:cubicBezTo>
                    <a:pt x="130" y="35"/>
                    <a:pt x="131" y="42"/>
                    <a:pt x="131" y="51"/>
                  </a:cubicBezTo>
                  <a:cubicBezTo>
                    <a:pt x="131" y="58"/>
                    <a:pt x="130" y="63"/>
                    <a:pt x="129" y="68"/>
                  </a:cubicBezTo>
                  <a:cubicBezTo>
                    <a:pt x="128" y="73"/>
                    <a:pt x="126" y="78"/>
                    <a:pt x="123" y="81"/>
                  </a:cubicBezTo>
                  <a:cubicBezTo>
                    <a:pt x="120" y="85"/>
                    <a:pt x="117" y="89"/>
                    <a:pt x="113" y="92"/>
                  </a:cubicBezTo>
                  <a:cubicBezTo>
                    <a:pt x="110" y="94"/>
                    <a:pt x="105" y="97"/>
                    <a:pt x="100" y="99"/>
                  </a:cubicBezTo>
                  <a:cubicBezTo>
                    <a:pt x="131" y="162"/>
                    <a:pt x="131" y="162"/>
                    <a:pt x="131" y="162"/>
                  </a:cubicBezTo>
                  <a:lnTo>
                    <a:pt x="94" y="162"/>
                  </a:lnTo>
                  <a:close/>
                  <a:moveTo>
                    <a:pt x="98" y="52"/>
                  </a:moveTo>
                  <a:cubicBezTo>
                    <a:pt x="98" y="48"/>
                    <a:pt x="97" y="45"/>
                    <a:pt x="96" y="42"/>
                  </a:cubicBezTo>
                  <a:cubicBezTo>
                    <a:pt x="95" y="39"/>
                    <a:pt x="93" y="37"/>
                    <a:pt x="91" y="36"/>
                  </a:cubicBezTo>
                  <a:cubicBezTo>
                    <a:pt x="89" y="34"/>
                    <a:pt x="86" y="33"/>
                    <a:pt x="84" y="32"/>
                  </a:cubicBezTo>
                  <a:cubicBezTo>
                    <a:pt x="81" y="32"/>
                    <a:pt x="78" y="31"/>
                    <a:pt x="75" y="31"/>
                  </a:cubicBezTo>
                  <a:cubicBezTo>
                    <a:pt x="32" y="31"/>
                    <a:pt x="32" y="31"/>
                    <a:pt x="32" y="31"/>
                  </a:cubicBezTo>
                  <a:cubicBezTo>
                    <a:pt x="32" y="73"/>
                    <a:pt x="32" y="73"/>
                    <a:pt x="32" y="73"/>
                  </a:cubicBezTo>
                  <a:cubicBezTo>
                    <a:pt x="75" y="73"/>
                    <a:pt x="75" y="73"/>
                    <a:pt x="75" y="73"/>
                  </a:cubicBezTo>
                  <a:cubicBezTo>
                    <a:pt x="79" y="73"/>
                    <a:pt x="82" y="72"/>
                    <a:pt x="85" y="72"/>
                  </a:cubicBezTo>
                  <a:cubicBezTo>
                    <a:pt x="88" y="71"/>
                    <a:pt x="90" y="69"/>
                    <a:pt x="92" y="67"/>
                  </a:cubicBezTo>
                  <a:cubicBezTo>
                    <a:pt x="94" y="66"/>
                    <a:pt x="95" y="64"/>
                    <a:pt x="96" y="61"/>
                  </a:cubicBezTo>
                  <a:cubicBezTo>
                    <a:pt x="97" y="58"/>
                    <a:pt x="98" y="55"/>
                    <a:pt x="98" y="5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39" name="Freeform 35">
              <a:extLst>
                <a:ext uri="{FF2B5EF4-FFF2-40B4-BE49-F238E27FC236}">
                  <a16:creationId xmlns:a16="http://schemas.microsoft.com/office/drawing/2014/main" id="{B3BCF9E1-0026-4389-B268-FEF82FAE2561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1669468" y="970279"/>
              <a:ext cx="79757" cy="111137"/>
            </a:xfrm>
            <a:custGeom>
              <a:avLst/>
              <a:gdLst>
                <a:gd name="T0" fmla="*/ 61 w 61"/>
                <a:gd name="T1" fmla="*/ 85 h 85"/>
                <a:gd name="T2" fmla="*/ 0 w 61"/>
                <a:gd name="T3" fmla="*/ 85 h 85"/>
                <a:gd name="T4" fmla="*/ 0 w 61"/>
                <a:gd name="T5" fmla="*/ 0 h 85"/>
                <a:gd name="T6" fmla="*/ 59 w 61"/>
                <a:gd name="T7" fmla="*/ 0 h 85"/>
                <a:gd name="T8" fmla="*/ 59 w 61"/>
                <a:gd name="T9" fmla="*/ 16 h 85"/>
                <a:gd name="T10" fmla="*/ 18 w 61"/>
                <a:gd name="T11" fmla="*/ 16 h 85"/>
                <a:gd name="T12" fmla="*/ 18 w 61"/>
                <a:gd name="T13" fmla="*/ 31 h 85"/>
                <a:gd name="T14" fmla="*/ 52 w 61"/>
                <a:gd name="T15" fmla="*/ 31 h 85"/>
                <a:gd name="T16" fmla="*/ 52 w 61"/>
                <a:gd name="T17" fmla="*/ 48 h 85"/>
                <a:gd name="T18" fmla="*/ 18 w 61"/>
                <a:gd name="T19" fmla="*/ 48 h 85"/>
                <a:gd name="T20" fmla="*/ 18 w 61"/>
                <a:gd name="T21" fmla="*/ 68 h 85"/>
                <a:gd name="T22" fmla="*/ 61 w 61"/>
                <a:gd name="T23" fmla="*/ 68 h 85"/>
                <a:gd name="T24" fmla="*/ 61 w 61"/>
                <a:gd name="T25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1" h="85">
                  <a:moveTo>
                    <a:pt x="61" y="85"/>
                  </a:moveTo>
                  <a:lnTo>
                    <a:pt x="0" y="85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6"/>
                  </a:lnTo>
                  <a:lnTo>
                    <a:pt x="18" y="16"/>
                  </a:lnTo>
                  <a:lnTo>
                    <a:pt x="18" y="31"/>
                  </a:lnTo>
                  <a:lnTo>
                    <a:pt x="52" y="31"/>
                  </a:lnTo>
                  <a:lnTo>
                    <a:pt x="52" y="48"/>
                  </a:lnTo>
                  <a:lnTo>
                    <a:pt x="18" y="48"/>
                  </a:lnTo>
                  <a:lnTo>
                    <a:pt x="18" y="68"/>
                  </a:lnTo>
                  <a:lnTo>
                    <a:pt x="61" y="68"/>
                  </a:lnTo>
                  <a:lnTo>
                    <a:pt x="61" y="8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40" name="Freeform 36">
              <a:extLst>
                <a:ext uri="{FF2B5EF4-FFF2-40B4-BE49-F238E27FC236}">
                  <a16:creationId xmlns:a16="http://schemas.microsoft.com/office/drawing/2014/main" id="{649F954E-57A5-4CCA-9CAB-F232FEBD5F36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9731769" y="1013426"/>
              <a:ext cx="261498" cy="366097"/>
            </a:xfrm>
            <a:custGeom>
              <a:avLst/>
              <a:gdLst>
                <a:gd name="T0" fmla="*/ 200 w 200"/>
                <a:gd name="T1" fmla="*/ 280 h 280"/>
                <a:gd name="T2" fmla="*/ 0 w 200"/>
                <a:gd name="T3" fmla="*/ 280 h 280"/>
                <a:gd name="T4" fmla="*/ 0 w 200"/>
                <a:gd name="T5" fmla="*/ 0 h 280"/>
                <a:gd name="T6" fmla="*/ 181 w 200"/>
                <a:gd name="T7" fmla="*/ 0 h 280"/>
                <a:gd name="T8" fmla="*/ 181 w 200"/>
                <a:gd name="T9" fmla="*/ 55 h 280"/>
                <a:gd name="T10" fmla="*/ 55 w 200"/>
                <a:gd name="T11" fmla="*/ 55 h 280"/>
                <a:gd name="T12" fmla="*/ 55 w 200"/>
                <a:gd name="T13" fmla="*/ 103 h 280"/>
                <a:gd name="T14" fmla="*/ 168 w 200"/>
                <a:gd name="T15" fmla="*/ 103 h 280"/>
                <a:gd name="T16" fmla="*/ 168 w 200"/>
                <a:gd name="T17" fmla="*/ 157 h 280"/>
                <a:gd name="T18" fmla="*/ 55 w 200"/>
                <a:gd name="T19" fmla="*/ 157 h 280"/>
                <a:gd name="T20" fmla="*/ 55 w 200"/>
                <a:gd name="T21" fmla="*/ 225 h 280"/>
                <a:gd name="T22" fmla="*/ 200 w 200"/>
                <a:gd name="T23" fmla="*/ 225 h 280"/>
                <a:gd name="T24" fmla="*/ 200 w 200"/>
                <a:gd name="T25" fmla="*/ 280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0" h="280">
                  <a:moveTo>
                    <a:pt x="200" y="280"/>
                  </a:moveTo>
                  <a:lnTo>
                    <a:pt x="0" y="280"/>
                  </a:lnTo>
                  <a:lnTo>
                    <a:pt x="0" y="0"/>
                  </a:lnTo>
                  <a:lnTo>
                    <a:pt x="181" y="0"/>
                  </a:lnTo>
                  <a:lnTo>
                    <a:pt x="181" y="55"/>
                  </a:lnTo>
                  <a:lnTo>
                    <a:pt x="55" y="55"/>
                  </a:lnTo>
                  <a:lnTo>
                    <a:pt x="55" y="103"/>
                  </a:lnTo>
                  <a:lnTo>
                    <a:pt x="168" y="103"/>
                  </a:lnTo>
                  <a:lnTo>
                    <a:pt x="168" y="157"/>
                  </a:lnTo>
                  <a:lnTo>
                    <a:pt x="55" y="157"/>
                  </a:lnTo>
                  <a:lnTo>
                    <a:pt x="55" y="225"/>
                  </a:lnTo>
                  <a:lnTo>
                    <a:pt x="200" y="225"/>
                  </a:lnTo>
                  <a:lnTo>
                    <a:pt x="200" y="28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41" name="Freeform 37">
              <a:extLst>
                <a:ext uri="{FF2B5EF4-FFF2-40B4-BE49-F238E27FC236}">
                  <a16:creationId xmlns:a16="http://schemas.microsoft.com/office/drawing/2014/main" id="{6DE56CC7-4BD4-440A-97FD-A8FAEC415494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9981497" y="1013426"/>
              <a:ext cx="334717" cy="366097"/>
            </a:xfrm>
            <a:custGeom>
              <a:avLst/>
              <a:gdLst>
                <a:gd name="T0" fmla="*/ 256 w 256"/>
                <a:gd name="T1" fmla="*/ 0 h 280"/>
                <a:gd name="T2" fmla="*/ 156 w 256"/>
                <a:gd name="T3" fmla="*/ 157 h 280"/>
                <a:gd name="T4" fmla="*/ 156 w 256"/>
                <a:gd name="T5" fmla="*/ 280 h 280"/>
                <a:gd name="T6" fmla="*/ 100 w 256"/>
                <a:gd name="T7" fmla="*/ 280 h 280"/>
                <a:gd name="T8" fmla="*/ 100 w 256"/>
                <a:gd name="T9" fmla="*/ 159 h 280"/>
                <a:gd name="T10" fmla="*/ 0 w 256"/>
                <a:gd name="T11" fmla="*/ 0 h 280"/>
                <a:gd name="T12" fmla="*/ 64 w 256"/>
                <a:gd name="T13" fmla="*/ 0 h 280"/>
                <a:gd name="T14" fmla="*/ 128 w 256"/>
                <a:gd name="T15" fmla="*/ 106 h 280"/>
                <a:gd name="T16" fmla="*/ 192 w 256"/>
                <a:gd name="T17" fmla="*/ 0 h 280"/>
                <a:gd name="T18" fmla="*/ 256 w 256"/>
                <a:gd name="T19" fmla="*/ 0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6" h="280">
                  <a:moveTo>
                    <a:pt x="256" y="0"/>
                  </a:moveTo>
                  <a:lnTo>
                    <a:pt x="156" y="157"/>
                  </a:lnTo>
                  <a:lnTo>
                    <a:pt x="156" y="280"/>
                  </a:lnTo>
                  <a:lnTo>
                    <a:pt x="100" y="280"/>
                  </a:lnTo>
                  <a:lnTo>
                    <a:pt x="100" y="159"/>
                  </a:lnTo>
                  <a:lnTo>
                    <a:pt x="0" y="0"/>
                  </a:lnTo>
                  <a:lnTo>
                    <a:pt x="64" y="0"/>
                  </a:lnTo>
                  <a:lnTo>
                    <a:pt x="128" y="106"/>
                  </a:lnTo>
                  <a:lnTo>
                    <a:pt x="192" y="0"/>
                  </a:lnTo>
                  <a:lnTo>
                    <a:pt x="256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42" name="Freeform 38">
              <a:extLst>
                <a:ext uri="{FF2B5EF4-FFF2-40B4-BE49-F238E27FC236}">
                  <a16:creationId xmlns:a16="http://schemas.microsoft.com/office/drawing/2014/main" id="{658A3BBD-2F70-448C-911B-74A58B3D4525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10199846" y="638177"/>
              <a:ext cx="1435622" cy="1039454"/>
            </a:xfrm>
            <a:custGeom>
              <a:avLst/>
              <a:gdLst>
                <a:gd name="T0" fmla="*/ 0 w 2104"/>
                <a:gd name="T1" fmla="*/ 293 h 1521"/>
                <a:gd name="T2" fmla="*/ 243 w 2104"/>
                <a:gd name="T3" fmla="*/ 139 h 1521"/>
                <a:gd name="T4" fmla="*/ 243 w 2104"/>
                <a:gd name="T5" fmla="*/ 191 h 1521"/>
                <a:gd name="T6" fmla="*/ 176 w 2104"/>
                <a:gd name="T7" fmla="*/ 1056 h 1521"/>
                <a:gd name="T8" fmla="*/ 279 w 2104"/>
                <a:gd name="T9" fmla="*/ 25 h 1521"/>
                <a:gd name="T10" fmla="*/ 1557 w 2104"/>
                <a:gd name="T11" fmla="*/ 1144 h 1521"/>
                <a:gd name="T12" fmla="*/ 1557 w 2104"/>
                <a:gd name="T13" fmla="*/ 1108 h 1521"/>
                <a:gd name="T14" fmla="*/ 1557 w 2104"/>
                <a:gd name="T15" fmla="*/ 1072 h 1521"/>
                <a:gd name="T16" fmla="*/ 1557 w 2104"/>
                <a:gd name="T17" fmla="*/ 1035 h 1521"/>
                <a:gd name="T18" fmla="*/ 1557 w 2104"/>
                <a:gd name="T19" fmla="*/ 1000 h 1521"/>
                <a:gd name="T20" fmla="*/ 1186 w 2104"/>
                <a:gd name="T21" fmla="*/ 465 h 1521"/>
                <a:gd name="T22" fmla="*/ 1915 w 2104"/>
                <a:gd name="T23" fmla="*/ 372 h 1521"/>
                <a:gd name="T24" fmla="*/ 1099 w 2104"/>
                <a:gd name="T25" fmla="*/ 499 h 1521"/>
                <a:gd name="T26" fmla="*/ 1977 w 2104"/>
                <a:gd name="T27" fmla="*/ 426 h 1521"/>
                <a:gd name="T28" fmla="*/ 1089 w 2104"/>
                <a:gd name="T29" fmla="*/ 421 h 1521"/>
                <a:gd name="T30" fmla="*/ 1565 w 2104"/>
                <a:gd name="T31" fmla="*/ 60 h 1521"/>
                <a:gd name="T32" fmla="*/ 1565 w 2104"/>
                <a:gd name="T33" fmla="*/ 24 h 1521"/>
                <a:gd name="T34" fmla="*/ 556 w 2104"/>
                <a:gd name="T35" fmla="*/ 485 h 1521"/>
                <a:gd name="T36" fmla="*/ 468 w 2104"/>
                <a:gd name="T37" fmla="*/ 41 h 1521"/>
                <a:gd name="T38" fmla="*/ 388 w 2104"/>
                <a:gd name="T39" fmla="*/ 106 h 1521"/>
                <a:gd name="T40" fmla="*/ 351 w 2104"/>
                <a:gd name="T41" fmla="*/ 760 h 1521"/>
                <a:gd name="T42" fmla="*/ 316 w 2104"/>
                <a:gd name="T43" fmla="*/ 70 h 1521"/>
                <a:gd name="T44" fmla="*/ 434 w 2104"/>
                <a:gd name="T45" fmla="*/ 1086 h 1521"/>
                <a:gd name="T46" fmla="*/ 885 w 2104"/>
                <a:gd name="T47" fmla="*/ 487 h 1521"/>
                <a:gd name="T48" fmla="*/ 885 w 2104"/>
                <a:gd name="T49" fmla="*/ 523 h 1521"/>
                <a:gd name="T50" fmla="*/ 568 w 2104"/>
                <a:gd name="T51" fmla="*/ 1056 h 1521"/>
                <a:gd name="T52" fmla="*/ 885 w 2104"/>
                <a:gd name="T53" fmla="*/ 559 h 1521"/>
                <a:gd name="T54" fmla="*/ 1089 w 2104"/>
                <a:gd name="T55" fmla="*/ 534 h 1521"/>
                <a:gd name="T56" fmla="*/ 1299 w 2104"/>
                <a:gd name="T57" fmla="*/ 996 h 1521"/>
                <a:gd name="T58" fmla="*/ 672 w 2104"/>
                <a:gd name="T59" fmla="*/ 1250 h 1521"/>
                <a:gd name="T60" fmla="*/ 894 w 2104"/>
                <a:gd name="T61" fmla="*/ 1377 h 1521"/>
                <a:gd name="T62" fmla="*/ 895 w 2104"/>
                <a:gd name="T63" fmla="*/ 1413 h 1521"/>
                <a:gd name="T64" fmla="*/ 619 w 2104"/>
                <a:gd name="T65" fmla="*/ 1361 h 1521"/>
                <a:gd name="T66" fmla="*/ 1382 w 2104"/>
                <a:gd name="T67" fmla="*/ 1152 h 1521"/>
                <a:gd name="T68" fmla="*/ 509 w 2104"/>
                <a:gd name="T69" fmla="*/ 1325 h 1521"/>
                <a:gd name="T70" fmla="*/ 1416 w 2104"/>
                <a:gd name="T71" fmla="*/ 1162 h 1521"/>
                <a:gd name="T72" fmla="*/ 2062 w 2104"/>
                <a:gd name="T73" fmla="*/ 711 h 1521"/>
                <a:gd name="T74" fmla="*/ 386 w 2104"/>
                <a:gd name="T75" fmla="*/ 950 h 1521"/>
                <a:gd name="T76" fmla="*/ 351 w 2104"/>
                <a:gd name="T77" fmla="*/ 968 h 1521"/>
                <a:gd name="T78" fmla="*/ 885 w 2104"/>
                <a:gd name="T79" fmla="*/ 415 h 1521"/>
                <a:gd name="T80" fmla="*/ 1162 w 2104"/>
                <a:gd name="T81" fmla="*/ 535 h 1521"/>
                <a:gd name="T82" fmla="*/ 1420 w 2104"/>
                <a:gd name="T83" fmla="*/ 978 h 1521"/>
                <a:gd name="T84" fmla="*/ 1162 w 2104"/>
                <a:gd name="T85" fmla="*/ 535 h 1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104" h="1521">
                  <a:moveTo>
                    <a:pt x="268" y="12"/>
                  </a:moveTo>
                  <a:cubicBezTo>
                    <a:pt x="259" y="12"/>
                    <a:pt x="252" y="20"/>
                    <a:pt x="246" y="26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4" y="303"/>
                    <a:pt x="25" y="320"/>
                    <a:pt x="51" y="291"/>
                  </a:cubicBezTo>
                  <a:cubicBezTo>
                    <a:pt x="66" y="276"/>
                    <a:pt x="243" y="80"/>
                    <a:pt x="243" y="80"/>
                  </a:cubicBezTo>
                  <a:cubicBezTo>
                    <a:pt x="243" y="139"/>
                    <a:pt x="243" y="139"/>
                    <a:pt x="243" y="139"/>
                  </a:cubicBezTo>
                  <a:cubicBezTo>
                    <a:pt x="227" y="157"/>
                    <a:pt x="76" y="322"/>
                    <a:pt x="60" y="338"/>
                  </a:cubicBezTo>
                  <a:cubicBezTo>
                    <a:pt x="38" y="360"/>
                    <a:pt x="46" y="383"/>
                    <a:pt x="59" y="392"/>
                  </a:cubicBezTo>
                  <a:cubicBezTo>
                    <a:pt x="243" y="191"/>
                    <a:pt x="243" y="191"/>
                    <a:pt x="243" y="191"/>
                  </a:cubicBezTo>
                  <a:cubicBezTo>
                    <a:pt x="243" y="983"/>
                    <a:pt x="243" y="983"/>
                    <a:pt x="243" y="983"/>
                  </a:cubicBezTo>
                  <a:cubicBezTo>
                    <a:pt x="243" y="1029"/>
                    <a:pt x="228" y="1059"/>
                    <a:pt x="200" y="1059"/>
                  </a:cubicBezTo>
                  <a:cubicBezTo>
                    <a:pt x="187" y="1059"/>
                    <a:pt x="181" y="1057"/>
                    <a:pt x="176" y="1056"/>
                  </a:cubicBezTo>
                  <a:cubicBezTo>
                    <a:pt x="170" y="1070"/>
                    <a:pt x="180" y="1090"/>
                    <a:pt x="208" y="1090"/>
                  </a:cubicBezTo>
                  <a:cubicBezTo>
                    <a:pt x="268" y="1090"/>
                    <a:pt x="279" y="1027"/>
                    <a:pt x="279" y="983"/>
                  </a:cubicBezTo>
                  <a:cubicBezTo>
                    <a:pt x="279" y="25"/>
                    <a:pt x="279" y="25"/>
                    <a:pt x="279" y="25"/>
                  </a:cubicBezTo>
                  <a:cubicBezTo>
                    <a:pt x="279" y="18"/>
                    <a:pt x="275" y="12"/>
                    <a:pt x="268" y="12"/>
                  </a:cubicBezTo>
                  <a:close/>
                  <a:moveTo>
                    <a:pt x="2062" y="711"/>
                  </a:moveTo>
                  <a:cubicBezTo>
                    <a:pt x="2072" y="820"/>
                    <a:pt x="1941" y="1144"/>
                    <a:pt x="1557" y="1144"/>
                  </a:cubicBezTo>
                  <a:cubicBezTo>
                    <a:pt x="1472" y="1144"/>
                    <a:pt x="1403" y="1124"/>
                    <a:pt x="1361" y="1105"/>
                  </a:cubicBezTo>
                  <a:cubicBezTo>
                    <a:pt x="1364" y="1094"/>
                    <a:pt x="1367" y="1083"/>
                    <a:pt x="1370" y="1072"/>
                  </a:cubicBezTo>
                  <a:cubicBezTo>
                    <a:pt x="1423" y="1094"/>
                    <a:pt x="1482" y="1108"/>
                    <a:pt x="1557" y="1108"/>
                  </a:cubicBezTo>
                  <a:cubicBezTo>
                    <a:pt x="1871" y="1108"/>
                    <a:pt x="1988" y="879"/>
                    <a:pt x="2010" y="795"/>
                  </a:cubicBezTo>
                  <a:cubicBezTo>
                    <a:pt x="2025" y="742"/>
                    <a:pt x="2018" y="711"/>
                    <a:pt x="1981" y="711"/>
                  </a:cubicBezTo>
                  <a:cubicBezTo>
                    <a:pt x="1994" y="785"/>
                    <a:pt x="1899" y="1072"/>
                    <a:pt x="1557" y="1072"/>
                  </a:cubicBezTo>
                  <a:cubicBezTo>
                    <a:pt x="1490" y="1072"/>
                    <a:pt x="1431" y="1059"/>
                    <a:pt x="1377" y="1037"/>
                  </a:cubicBezTo>
                  <a:cubicBezTo>
                    <a:pt x="1379" y="1026"/>
                    <a:pt x="1380" y="1014"/>
                    <a:pt x="1382" y="1003"/>
                  </a:cubicBezTo>
                  <a:cubicBezTo>
                    <a:pt x="1420" y="1018"/>
                    <a:pt x="1479" y="1035"/>
                    <a:pt x="1557" y="1035"/>
                  </a:cubicBezTo>
                  <a:cubicBezTo>
                    <a:pt x="1794" y="1035"/>
                    <a:pt x="1908" y="877"/>
                    <a:pt x="1932" y="781"/>
                  </a:cubicBezTo>
                  <a:cubicBezTo>
                    <a:pt x="1943" y="739"/>
                    <a:pt x="1936" y="711"/>
                    <a:pt x="1902" y="711"/>
                  </a:cubicBezTo>
                  <a:cubicBezTo>
                    <a:pt x="1910" y="784"/>
                    <a:pt x="1826" y="1000"/>
                    <a:pt x="1557" y="1000"/>
                  </a:cubicBezTo>
                  <a:cubicBezTo>
                    <a:pt x="1519" y="1000"/>
                    <a:pt x="1484" y="995"/>
                    <a:pt x="1455" y="988"/>
                  </a:cubicBezTo>
                  <a:cubicBezTo>
                    <a:pt x="1456" y="975"/>
                    <a:pt x="1456" y="960"/>
                    <a:pt x="1456" y="950"/>
                  </a:cubicBezTo>
                  <a:cubicBezTo>
                    <a:pt x="1456" y="749"/>
                    <a:pt x="1351" y="567"/>
                    <a:pt x="1186" y="465"/>
                  </a:cubicBezTo>
                  <a:cubicBezTo>
                    <a:pt x="1249" y="318"/>
                    <a:pt x="1390" y="204"/>
                    <a:pt x="1565" y="204"/>
                  </a:cubicBezTo>
                  <a:cubicBezTo>
                    <a:pt x="1787" y="204"/>
                    <a:pt x="1886" y="374"/>
                    <a:pt x="1896" y="426"/>
                  </a:cubicBezTo>
                  <a:cubicBezTo>
                    <a:pt x="1919" y="426"/>
                    <a:pt x="1925" y="395"/>
                    <a:pt x="1915" y="372"/>
                  </a:cubicBezTo>
                  <a:cubicBezTo>
                    <a:pt x="1892" y="314"/>
                    <a:pt x="1782" y="169"/>
                    <a:pt x="1565" y="169"/>
                  </a:cubicBezTo>
                  <a:cubicBezTo>
                    <a:pt x="1348" y="169"/>
                    <a:pt x="1187" y="321"/>
                    <a:pt x="1131" y="516"/>
                  </a:cubicBezTo>
                  <a:cubicBezTo>
                    <a:pt x="1121" y="510"/>
                    <a:pt x="1110" y="504"/>
                    <a:pt x="1099" y="499"/>
                  </a:cubicBezTo>
                  <a:cubicBezTo>
                    <a:pt x="1107" y="476"/>
                    <a:pt x="1114" y="453"/>
                    <a:pt x="1122" y="434"/>
                  </a:cubicBezTo>
                  <a:cubicBezTo>
                    <a:pt x="1192" y="257"/>
                    <a:pt x="1361" y="132"/>
                    <a:pt x="1565" y="132"/>
                  </a:cubicBezTo>
                  <a:cubicBezTo>
                    <a:pt x="1836" y="132"/>
                    <a:pt x="1966" y="343"/>
                    <a:pt x="1977" y="426"/>
                  </a:cubicBezTo>
                  <a:cubicBezTo>
                    <a:pt x="1997" y="426"/>
                    <a:pt x="2012" y="403"/>
                    <a:pt x="2003" y="378"/>
                  </a:cubicBezTo>
                  <a:cubicBezTo>
                    <a:pt x="1975" y="301"/>
                    <a:pt x="1856" y="96"/>
                    <a:pt x="1565" y="96"/>
                  </a:cubicBezTo>
                  <a:cubicBezTo>
                    <a:pt x="1346" y="96"/>
                    <a:pt x="1164" y="231"/>
                    <a:pt x="1089" y="421"/>
                  </a:cubicBezTo>
                  <a:cubicBezTo>
                    <a:pt x="1082" y="437"/>
                    <a:pt x="1074" y="460"/>
                    <a:pt x="1066" y="485"/>
                  </a:cubicBezTo>
                  <a:cubicBezTo>
                    <a:pt x="1056" y="481"/>
                    <a:pt x="1046" y="477"/>
                    <a:pt x="1036" y="474"/>
                  </a:cubicBezTo>
                  <a:cubicBezTo>
                    <a:pt x="1086" y="263"/>
                    <a:pt x="1283" y="60"/>
                    <a:pt x="1565" y="60"/>
                  </a:cubicBezTo>
                  <a:cubicBezTo>
                    <a:pt x="1936" y="60"/>
                    <a:pt x="2057" y="372"/>
                    <a:pt x="2058" y="426"/>
                  </a:cubicBezTo>
                  <a:cubicBezTo>
                    <a:pt x="2084" y="426"/>
                    <a:pt x="2093" y="398"/>
                    <a:pt x="2085" y="372"/>
                  </a:cubicBezTo>
                  <a:cubicBezTo>
                    <a:pt x="2058" y="289"/>
                    <a:pt x="1922" y="24"/>
                    <a:pt x="1565" y="24"/>
                  </a:cubicBezTo>
                  <a:cubicBezTo>
                    <a:pt x="1298" y="24"/>
                    <a:pt x="1105" y="187"/>
                    <a:pt x="1024" y="396"/>
                  </a:cubicBezTo>
                  <a:cubicBezTo>
                    <a:pt x="979" y="385"/>
                    <a:pt x="932" y="379"/>
                    <a:pt x="885" y="379"/>
                  </a:cubicBezTo>
                  <a:cubicBezTo>
                    <a:pt x="766" y="379"/>
                    <a:pt x="653" y="416"/>
                    <a:pt x="556" y="485"/>
                  </a:cubicBezTo>
                  <a:cubicBezTo>
                    <a:pt x="505" y="522"/>
                    <a:pt x="460" y="566"/>
                    <a:pt x="424" y="616"/>
                  </a:cubicBezTo>
                  <a:cubicBezTo>
                    <a:pt x="424" y="106"/>
                    <a:pt x="424" y="106"/>
                    <a:pt x="424" y="106"/>
                  </a:cubicBezTo>
                  <a:cubicBezTo>
                    <a:pt x="424" y="60"/>
                    <a:pt x="439" y="41"/>
                    <a:pt x="468" y="41"/>
                  </a:cubicBezTo>
                  <a:cubicBezTo>
                    <a:pt x="480" y="41"/>
                    <a:pt x="486" y="43"/>
                    <a:pt x="491" y="44"/>
                  </a:cubicBezTo>
                  <a:cubicBezTo>
                    <a:pt x="497" y="30"/>
                    <a:pt x="487" y="10"/>
                    <a:pt x="459" y="10"/>
                  </a:cubicBezTo>
                  <a:cubicBezTo>
                    <a:pt x="399" y="10"/>
                    <a:pt x="388" y="62"/>
                    <a:pt x="388" y="106"/>
                  </a:cubicBezTo>
                  <a:cubicBezTo>
                    <a:pt x="388" y="106"/>
                    <a:pt x="388" y="518"/>
                    <a:pt x="388" y="672"/>
                  </a:cubicBezTo>
                  <a:cubicBezTo>
                    <a:pt x="388" y="673"/>
                    <a:pt x="387" y="674"/>
                    <a:pt x="387" y="675"/>
                  </a:cubicBezTo>
                  <a:cubicBezTo>
                    <a:pt x="377" y="692"/>
                    <a:pt x="362" y="729"/>
                    <a:pt x="351" y="760"/>
                  </a:cubicBezTo>
                  <a:cubicBezTo>
                    <a:pt x="351" y="84"/>
                    <a:pt x="351" y="84"/>
                    <a:pt x="351" y="84"/>
                  </a:cubicBezTo>
                  <a:cubicBezTo>
                    <a:pt x="351" y="41"/>
                    <a:pt x="361" y="26"/>
                    <a:pt x="369" y="19"/>
                  </a:cubicBezTo>
                  <a:cubicBezTo>
                    <a:pt x="365" y="5"/>
                    <a:pt x="316" y="0"/>
                    <a:pt x="316" y="70"/>
                  </a:cubicBezTo>
                  <a:cubicBezTo>
                    <a:pt x="316" y="103"/>
                    <a:pt x="316" y="984"/>
                    <a:pt x="316" y="984"/>
                  </a:cubicBezTo>
                  <a:cubicBezTo>
                    <a:pt x="316" y="1060"/>
                    <a:pt x="351" y="1091"/>
                    <a:pt x="389" y="1091"/>
                  </a:cubicBezTo>
                  <a:cubicBezTo>
                    <a:pt x="405" y="1091"/>
                    <a:pt x="422" y="1088"/>
                    <a:pt x="434" y="1086"/>
                  </a:cubicBezTo>
                  <a:cubicBezTo>
                    <a:pt x="440" y="1084"/>
                    <a:pt x="444" y="1077"/>
                    <a:pt x="442" y="1071"/>
                  </a:cubicBezTo>
                  <a:cubicBezTo>
                    <a:pt x="430" y="1040"/>
                    <a:pt x="422" y="998"/>
                    <a:pt x="422" y="950"/>
                  </a:cubicBezTo>
                  <a:cubicBezTo>
                    <a:pt x="422" y="694"/>
                    <a:pt x="630" y="487"/>
                    <a:pt x="885" y="487"/>
                  </a:cubicBezTo>
                  <a:cubicBezTo>
                    <a:pt x="946" y="487"/>
                    <a:pt x="1003" y="498"/>
                    <a:pt x="1057" y="519"/>
                  </a:cubicBezTo>
                  <a:cubicBezTo>
                    <a:pt x="1053" y="530"/>
                    <a:pt x="1051" y="542"/>
                    <a:pt x="1048" y="553"/>
                  </a:cubicBezTo>
                  <a:cubicBezTo>
                    <a:pt x="1008" y="537"/>
                    <a:pt x="955" y="523"/>
                    <a:pt x="885" y="523"/>
                  </a:cubicBezTo>
                  <a:cubicBezTo>
                    <a:pt x="650" y="523"/>
                    <a:pt x="458" y="715"/>
                    <a:pt x="458" y="950"/>
                  </a:cubicBezTo>
                  <a:cubicBezTo>
                    <a:pt x="458" y="1011"/>
                    <a:pt x="475" y="1090"/>
                    <a:pt x="535" y="1090"/>
                  </a:cubicBezTo>
                  <a:cubicBezTo>
                    <a:pt x="564" y="1090"/>
                    <a:pt x="574" y="1070"/>
                    <a:pt x="568" y="1056"/>
                  </a:cubicBezTo>
                  <a:cubicBezTo>
                    <a:pt x="562" y="1057"/>
                    <a:pt x="556" y="1059"/>
                    <a:pt x="544" y="1059"/>
                  </a:cubicBezTo>
                  <a:cubicBezTo>
                    <a:pt x="516" y="1059"/>
                    <a:pt x="494" y="1021"/>
                    <a:pt x="494" y="950"/>
                  </a:cubicBezTo>
                  <a:cubicBezTo>
                    <a:pt x="494" y="734"/>
                    <a:pt x="669" y="559"/>
                    <a:pt x="885" y="559"/>
                  </a:cubicBezTo>
                  <a:cubicBezTo>
                    <a:pt x="959" y="559"/>
                    <a:pt x="1016" y="577"/>
                    <a:pt x="1056" y="597"/>
                  </a:cubicBezTo>
                  <a:cubicBezTo>
                    <a:pt x="1065" y="601"/>
                    <a:pt x="1075" y="595"/>
                    <a:pt x="1077" y="585"/>
                  </a:cubicBezTo>
                  <a:cubicBezTo>
                    <a:pt x="1079" y="571"/>
                    <a:pt x="1084" y="553"/>
                    <a:pt x="1089" y="534"/>
                  </a:cubicBezTo>
                  <a:cubicBezTo>
                    <a:pt x="1243" y="609"/>
                    <a:pt x="1349" y="768"/>
                    <a:pt x="1349" y="950"/>
                  </a:cubicBezTo>
                  <a:cubicBezTo>
                    <a:pt x="1349" y="974"/>
                    <a:pt x="1347" y="998"/>
                    <a:pt x="1343" y="1021"/>
                  </a:cubicBezTo>
                  <a:cubicBezTo>
                    <a:pt x="1328" y="1014"/>
                    <a:pt x="1314" y="1005"/>
                    <a:pt x="1299" y="996"/>
                  </a:cubicBezTo>
                  <a:cubicBezTo>
                    <a:pt x="1283" y="987"/>
                    <a:pt x="1274" y="994"/>
                    <a:pt x="1272" y="1009"/>
                  </a:cubicBezTo>
                  <a:cubicBezTo>
                    <a:pt x="1244" y="1200"/>
                    <a:pt x="1086" y="1341"/>
                    <a:pt x="894" y="1341"/>
                  </a:cubicBezTo>
                  <a:cubicBezTo>
                    <a:pt x="763" y="1341"/>
                    <a:pt x="691" y="1290"/>
                    <a:pt x="672" y="1250"/>
                  </a:cubicBezTo>
                  <a:cubicBezTo>
                    <a:pt x="662" y="1253"/>
                    <a:pt x="654" y="1262"/>
                    <a:pt x="654" y="1276"/>
                  </a:cubicBezTo>
                  <a:cubicBezTo>
                    <a:pt x="654" y="1300"/>
                    <a:pt x="694" y="1327"/>
                    <a:pt x="721" y="1340"/>
                  </a:cubicBezTo>
                  <a:cubicBezTo>
                    <a:pt x="761" y="1360"/>
                    <a:pt x="815" y="1377"/>
                    <a:pt x="894" y="1377"/>
                  </a:cubicBezTo>
                  <a:cubicBezTo>
                    <a:pt x="1095" y="1377"/>
                    <a:pt x="1261" y="1235"/>
                    <a:pt x="1303" y="1040"/>
                  </a:cubicBezTo>
                  <a:cubicBezTo>
                    <a:pt x="1314" y="1046"/>
                    <a:pt x="1325" y="1052"/>
                    <a:pt x="1337" y="1058"/>
                  </a:cubicBezTo>
                  <a:cubicBezTo>
                    <a:pt x="1290" y="1261"/>
                    <a:pt x="1113" y="1413"/>
                    <a:pt x="895" y="1413"/>
                  </a:cubicBezTo>
                  <a:cubicBezTo>
                    <a:pt x="713" y="1413"/>
                    <a:pt x="621" y="1325"/>
                    <a:pt x="616" y="1296"/>
                  </a:cubicBezTo>
                  <a:cubicBezTo>
                    <a:pt x="602" y="1296"/>
                    <a:pt x="594" y="1307"/>
                    <a:pt x="594" y="1320"/>
                  </a:cubicBezTo>
                  <a:cubicBezTo>
                    <a:pt x="594" y="1335"/>
                    <a:pt x="606" y="1350"/>
                    <a:pt x="619" y="1361"/>
                  </a:cubicBezTo>
                  <a:cubicBezTo>
                    <a:pt x="653" y="1392"/>
                    <a:pt x="738" y="1449"/>
                    <a:pt x="895" y="1449"/>
                  </a:cubicBezTo>
                  <a:cubicBezTo>
                    <a:pt x="1103" y="1449"/>
                    <a:pt x="1277" y="1320"/>
                    <a:pt x="1349" y="1138"/>
                  </a:cubicBezTo>
                  <a:cubicBezTo>
                    <a:pt x="1359" y="1143"/>
                    <a:pt x="1371" y="1147"/>
                    <a:pt x="1382" y="1152"/>
                  </a:cubicBezTo>
                  <a:cubicBezTo>
                    <a:pt x="1304" y="1348"/>
                    <a:pt x="1116" y="1485"/>
                    <a:pt x="894" y="1485"/>
                  </a:cubicBezTo>
                  <a:cubicBezTo>
                    <a:pt x="688" y="1485"/>
                    <a:pt x="549" y="1379"/>
                    <a:pt x="534" y="1297"/>
                  </a:cubicBezTo>
                  <a:cubicBezTo>
                    <a:pt x="522" y="1297"/>
                    <a:pt x="509" y="1308"/>
                    <a:pt x="509" y="1325"/>
                  </a:cubicBezTo>
                  <a:cubicBezTo>
                    <a:pt x="509" y="1338"/>
                    <a:pt x="520" y="1357"/>
                    <a:pt x="523" y="1362"/>
                  </a:cubicBezTo>
                  <a:cubicBezTo>
                    <a:pt x="554" y="1410"/>
                    <a:pt x="665" y="1521"/>
                    <a:pt x="894" y="1521"/>
                  </a:cubicBezTo>
                  <a:cubicBezTo>
                    <a:pt x="1132" y="1521"/>
                    <a:pt x="1334" y="1373"/>
                    <a:pt x="1416" y="1162"/>
                  </a:cubicBezTo>
                  <a:cubicBezTo>
                    <a:pt x="1455" y="1173"/>
                    <a:pt x="1501" y="1179"/>
                    <a:pt x="1557" y="1179"/>
                  </a:cubicBezTo>
                  <a:cubicBezTo>
                    <a:pt x="1928" y="1179"/>
                    <a:pt x="2065" y="901"/>
                    <a:pt x="2089" y="800"/>
                  </a:cubicBezTo>
                  <a:cubicBezTo>
                    <a:pt x="2104" y="734"/>
                    <a:pt x="2096" y="711"/>
                    <a:pt x="2062" y="711"/>
                  </a:cubicBezTo>
                  <a:close/>
                  <a:moveTo>
                    <a:pt x="1002" y="465"/>
                  </a:moveTo>
                  <a:cubicBezTo>
                    <a:pt x="964" y="456"/>
                    <a:pt x="925" y="451"/>
                    <a:pt x="885" y="451"/>
                  </a:cubicBezTo>
                  <a:cubicBezTo>
                    <a:pt x="610" y="451"/>
                    <a:pt x="386" y="675"/>
                    <a:pt x="386" y="950"/>
                  </a:cubicBezTo>
                  <a:cubicBezTo>
                    <a:pt x="386" y="982"/>
                    <a:pt x="388" y="1021"/>
                    <a:pt x="400" y="1055"/>
                  </a:cubicBezTo>
                  <a:cubicBezTo>
                    <a:pt x="364" y="1065"/>
                    <a:pt x="351" y="1028"/>
                    <a:pt x="351" y="984"/>
                  </a:cubicBezTo>
                  <a:cubicBezTo>
                    <a:pt x="351" y="984"/>
                    <a:pt x="351" y="979"/>
                    <a:pt x="351" y="968"/>
                  </a:cubicBezTo>
                  <a:cubicBezTo>
                    <a:pt x="354" y="837"/>
                    <a:pt x="385" y="763"/>
                    <a:pt x="385" y="763"/>
                  </a:cubicBezTo>
                  <a:cubicBezTo>
                    <a:pt x="422" y="661"/>
                    <a:pt x="490" y="577"/>
                    <a:pt x="577" y="514"/>
                  </a:cubicBezTo>
                  <a:cubicBezTo>
                    <a:pt x="667" y="449"/>
                    <a:pt x="774" y="415"/>
                    <a:pt x="885" y="415"/>
                  </a:cubicBezTo>
                  <a:cubicBezTo>
                    <a:pt x="928" y="415"/>
                    <a:pt x="971" y="420"/>
                    <a:pt x="1012" y="430"/>
                  </a:cubicBezTo>
                  <a:cubicBezTo>
                    <a:pt x="1008" y="441"/>
                    <a:pt x="1005" y="453"/>
                    <a:pt x="1002" y="465"/>
                  </a:cubicBezTo>
                  <a:close/>
                  <a:moveTo>
                    <a:pt x="1162" y="535"/>
                  </a:moveTo>
                  <a:cubicBezTo>
                    <a:pt x="1166" y="523"/>
                    <a:pt x="1169" y="511"/>
                    <a:pt x="1173" y="499"/>
                  </a:cubicBezTo>
                  <a:cubicBezTo>
                    <a:pt x="1324" y="595"/>
                    <a:pt x="1421" y="764"/>
                    <a:pt x="1421" y="950"/>
                  </a:cubicBezTo>
                  <a:cubicBezTo>
                    <a:pt x="1421" y="959"/>
                    <a:pt x="1420" y="968"/>
                    <a:pt x="1420" y="978"/>
                  </a:cubicBezTo>
                  <a:cubicBezTo>
                    <a:pt x="1406" y="973"/>
                    <a:pt x="1394" y="969"/>
                    <a:pt x="1384" y="964"/>
                  </a:cubicBezTo>
                  <a:cubicBezTo>
                    <a:pt x="1384" y="960"/>
                    <a:pt x="1384" y="955"/>
                    <a:pt x="1384" y="950"/>
                  </a:cubicBezTo>
                  <a:cubicBezTo>
                    <a:pt x="1384" y="777"/>
                    <a:pt x="1296" y="625"/>
                    <a:pt x="1162" y="53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090439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30">
          <p15:clr>
            <a:srgbClr val="FBAE40"/>
          </p15:clr>
        </p15:guide>
        <p15:guide id="2" pos="553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wo_columns_with_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12648" y="1869440"/>
            <a:ext cx="5393208" cy="42233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 lang="en-US" noProof="0"/>
            </a:lvl1pPr>
            <a:lvl2pPr marL="271463" marR="0" indent="-2714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/>
            </a:lvl2pPr>
            <a:lvl3pPr marL="511175" marR="0" indent="-2333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/>
            </a:lvl3pPr>
            <a:lvl4pPr marL="746125" marR="0" indent="-2317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/>
            </a:lvl4pPr>
            <a:lvl5pPr marL="944563" marR="0" indent="-2016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Click to edit Master text styles</a:t>
            </a:r>
          </a:p>
          <a:p>
            <a:pPr marL="271463" marR="0" lvl="1" indent="-2714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Second level</a:t>
            </a:r>
          </a:p>
          <a:p>
            <a:pPr marL="511175" marR="0" lvl="2" indent="-2333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Third level</a:t>
            </a:r>
          </a:p>
          <a:p>
            <a:pPr marL="746125" marR="0" lvl="3" indent="-2317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Fourth level</a:t>
            </a:r>
          </a:p>
          <a:p>
            <a:pPr marL="944563" marR="0" lvl="4" indent="-2016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Text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199632" y="1869440"/>
            <a:ext cx="5393208" cy="42233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 lang="en-US" noProof="0"/>
            </a:lvl1pPr>
            <a:lvl2pPr marL="271463" marR="0" indent="-2714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/>
            </a:lvl2pPr>
            <a:lvl3pPr marL="511175" marR="0" indent="-2333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/>
            </a:lvl3pPr>
            <a:lvl4pPr marL="746125" marR="0" indent="-2317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/>
            </a:lvl4pPr>
            <a:lvl5pPr marL="944563" marR="0" indent="-2016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Click to edit Master text styles</a:t>
            </a:r>
          </a:p>
          <a:p>
            <a:pPr marL="271463" marR="0" lvl="1" indent="-2714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Second level</a:t>
            </a:r>
          </a:p>
          <a:p>
            <a:pPr marL="511175" marR="0" lvl="2" indent="-2333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Third level</a:t>
            </a:r>
          </a:p>
          <a:p>
            <a:pPr marL="746125" marR="0" lvl="3" indent="-2317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Fourth level</a:t>
            </a:r>
          </a:p>
          <a:p>
            <a:pPr marL="944563" marR="0" lvl="4" indent="-2016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Text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609918" y="1137920"/>
            <a:ext cx="5393208" cy="6408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edit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6199632" y="1137920"/>
            <a:ext cx="5393208" cy="6408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edi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918" y="294200"/>
            <a:ext cx="10978515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4" name="Line 10">
            <a:extLst>
              <a:ext uri="{FF2B5EF4-FFF2-40B4-BE49-F238E27FC236}">
                <a16:creationId xmlns:a16="http://schemas.microsoft.com/office/drawing/2014/main" id="{9773E7D9-2434-4381-A00D-27B62C08673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09FCCF0-19BC-4024-9BCA-E14DB77EAF2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16510D6D-30BD-4075-B43B-6E2BF2FEC1F8}" type="datetime3">
              <a:rPr lang="en-US" noProof="0" smtClean="0"/>
              <a:t>19 September 2023</a:t>
            </a:fld>
            <a:endParaRPr lang="en-US" noProof="0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2B54F7E-BDC4-4386-B2E2-1FC66609D14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 dirty="0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94FBF9A-EC9A-41E4-A24C-ECB5DC15CCD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 noProof="0" dirty="0"/>
              <a:t>Page </a:t>
            </a:r>
            <a:fld id="{F1BC30E3-FFE5-4B91-AA19-87A149EBB9E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619028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09" userDrawn="1">
          <p15:clr>
            <a:srgbClr val="FBAE40"/>
          </p15:clr>
        </p15:guide>
        <p15:guide id="2" pos="377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CAA955-C688-4D17-A718-E12620276EB6}" type="datetime3">
              <a:rPr lang="en-US" smtClean="0"/>
              <a:t>19 September 2023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Page </a:t>
            </a:r>
            <a:fld id="{F1BC30E3-FFE5-4B91-AA19-87A149EBB9E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227180" y="0"/>
            <a:ext cx="5971170" cy="685800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0710" y="2578743"/>
            <a:ext cx="4537959" cy="105570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000"/>
            </a:lvl1pPr>
          </a:lstStyle>
          <a:p>
            <a:pPr lvl="0"/>
            <a:r>
              <a:rPr lang="en-US" noProof="0" dirty="0"/>
              <a:t>Chapter Title</a:t>
            </a:r>
          </a:p>
          <a:p>
            <a:pPr lvl="0"/>
            <a:r>
              <a:rPr lang="en-US" noProof="0" dirty="0"/>
              <a:t>EY Interstate Light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0710" y="3840384"/>
            <a:ext cx="4537959" cy="105570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US" noProof="0" dirty="0"/>
              <a:t>Click to edit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5007990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378806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30" userDrawn="1">
          <p15:clr>
            <a:srgbClr val="FBAE40"/>
          </p15:clr>
        </p15:guide>
        <p15:guide id="2" pos="553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Blank_with_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CAA955-C688-4D17-A718-E12620276EB6}" type="datetime3">
              <a:rPr lang="en-US" smtClean="0"/>
              <a:t>19 September 2023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Page </a:t>
            </a:r>
            <a:fld id="{F1BC30E3-FFE5-4B91-AA19-87A149EBB9E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19">
            <a:extLst>
              <a:ext uri="{FF2B5EF4-FFF2-40B4-BE49-F238E27FC236}">
                <a16:creationId xmlns:a16="http://schemas.microsoft.com/office/drawing/2014/main" id="{00A15EA9-2372-4E06-83C2-1E13AB1FA62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600" y="4207757"/>
            <a:ext cx="648000" cy="6480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9579736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Video_full_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0052CFA6-7CF5-41BD-9D94-2D0DAE108428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2198350" cy="6858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 dirty="0"/>
              <a:t>Video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11B3654-4C35-482F-B580-02C23F975B9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7D5E4DB0-3F0E-4299-A8C0-F6EFC443BC0A}" type="datetime3">
              <a:rPr lang="en-US" noProof="0" smtClean="0"/>
              <a:t>19 September 2023</a:t>
            </a:fld>
            <a:endParaRPr lang="en-US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62EFEC5-10C4-4E79-B06E-F14B8F305F9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CC05763-C066-4818-A1DF-64ED4D64BE2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 noProof="0" dirty="0"/>
              <a:t>Page </a:t>
            </a:r>
            <a:fld id="{F1BC30E3-FFE5-4B91-AA19-87A149EBB9E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7304049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5_Cover_approved_question_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6" name="Group 185">
            <a:extLst>
              <a:ext uri="{FF2B5EF4-FFF2-40B4-BE49-F238E27FC236}">
                <a16:creationId xmlns:a16="http://schemas.microsoft.com/office/drawing/2014/main" id="{9CDE954B-B280-441B-9B2D-3DC58AAE3926}"/>
              </a:ext>
            </a:extLst>
          </p:cNvPr>
          <p:cNvGrpSpPr/>
          <p:nvPr userDrawn="1"/>
        </p:nvGrpSpPr>
        <p:grpSpPr bwMode="invGray">
          <a:xfrm>
            <a:off x="622940" y="5826612"/>
            <a:ext cx="3878023" cy="570195"/>
            <a:chOff x="498115" y="5951018"/>
            <a:chExt cx="3878023" cy="570195"/>
          </a:xfrm>
        </p:grpSpPr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93D8FAC8-9530-49D4-8284-D35D1B1509D3}"/>
                </a:ext>
              </a:extLst>
            </p:cNvPr>
            <p:cNvSpPr>
              <a:spLocks noChangeArrowheads="1"/>
            </p:cNvSpPr>
            <p:nvPr userDrawn="1"/>
          </p:nvSpPr>
          <p:spPr bwMode="invGray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88" name="Rectangle 6">
              <a:extLst>
                <a:ext uri="{FF2B5EF4-FFF2-40B4-BE49-F238E27FC236}">
                  <a16:creationId xmlns:a16="http://schemas.microsoft.com/office/drawing/2014/main" id="{FD924F44-93C1-4254-B594-53DB14FD995E}"/>
                </a:ext>
              </a:extLst>
            </p:cNvPr>
            <p:cNvSpPr>
              <a:spLocks noChangeArrowheads="1"/>
            </p:cNvSpPr>
            <p:nvPr userDrawn="1"/>
          </p:nvSpPr>
          <p:spPr bwMode="invGray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89" name="Rectangle 7">
              <a:extLst>
                <a:ext uri="{FF2B5EF4-FFF2-40B4-BE49-F238E27FC236}">
                  <a16:creationId xmlns:a16="http://schemas.microsoft.com/office/drawing/2014/main" id="{2A2DA425-7935-45A1-B63F-2D14CF8D5F9C}"/>
                </a:ext>
              </a:extLst>
            </p:cNvPr>
            <p:cNvSpPr>
              <a:spLocks noChangeArrowheads="1"/>
            </p:cNvSpPr>
            <p:nvPr userDrawn="1"/>
          </p:nvSpPr>
          <p:spPr bwMode="invGray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90" name="Freeform 8">
              <a:extLst>
                <a:ext uri="{FF2B5EF4-FFF2-40B4-BE49-F238E27FC236}">
                  <a16:creationId xmlns:a16="http://schemas.microsoft.com/office/drawing/2014/main" id="{91EFF75E-13E7-4E35-B108-D9FD5E9C802C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1" name="Freeform 9">
              <a:extLst>
                <a:ext uri="{FF2B5EF4-FFF2-40B4-BE49-F238E27FC236}">
                  <a16:creationId xmlns:a16="http://schemas.microsoft.com/office/drawing/2014/main" id="{4411951F-E009-4FE7-B2EC-47771CA8E178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2" name="Freeform 10">
              <a:extLst>
                <a:ext uri="{FF2B5EF4-FFF2-40B4-BE49-F238E27FC236}">
                  <a16:creationId xmlns:a16="http://schemas.microsoft.com/office/drawing/2014/main" id="{B28EE49C-5F5A-49C6-AEB8-6D12DDF344ED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3" name="Freeform 11">
              <a:extLst>
                <a:ext uri="{FF2B5EF4-FFF2-40B4-BE49-F238E27FC236}">
                  <a16:creationId xmlns:a16="http://schemas.microsoft.com/office/drawing/2014/main" id="{6E2B7D76-D660-491F-8B04-169C6F138B0A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4" name="Freeform 12">
              <a:extLst>
                <a:ext uri="{FF2B5EF4-FFF2-40B4-BE49-F238E27FC236}">
                  <a16:creationId xmlns:a16="http://schemas.microsoft.com/office/drawing/2014/main" id="{41BE51DE-402B-48B5-99C8-D8BB9A32DF35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5" name="Freeform 13">
              <a:extLst>
                <a:ext uri="{FF2B5EF4-FFF2-40B4-BE49-F238E27FC236}">
                  <a16:creationId xmlns:a16="http://schemas.microsoft.com/office/drawing/2014/main" id="{8D5E878B-8859-44FA-A69D-DCE630AAB0DC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6" name="Freeform 14">
              <a:extLst>
                <a:ext uri="{FF2B5EF4-FFF2-40B4-BE49-F238E27FC236}">
                  <a16:creationId xmlns:a16="http://schemas.microsoft.com/office/drawing/2014/main" id="{08D55808-ECDC-4E9B-84ED-7301E9E716C2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7" name="Freeform 15">
              <a:extLst>
                <a:ext uri="{FF2B5EF4-FFF2-40B4-BE49-F238E27FC236}">
                  <a16:creationId xmlns:a16="http://schemas.microsoft.com/office/drawing/2014/main" id="{3436B310-313E-4A53-A70D-CA0D0D97FE7A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8" name="Freeform 16">
              <a:extLst>
                <a:ext uri="{FF2B5EF4-FFF2-40B4-BE49-F238E27FC236}">
                  <a16:creationId xmlns:a16="http://schemas.microsoft.com/office/drawing/2014/main" id="{F3CE55A9-AE55-4169-A58D-8171D9916EC9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9" name="Freeform 17">
              <a:extLst>
                <a:ext uri="{FF2B5EF4-FFF2-40B4-BE49-F238E27FC236}">
                  <a16:creationId xmlns:a16="http://schemas.microsoft.com/office/drawing/2014/main" id="{FA01BC48-4605-46FC-A7AC-192C7DBCA046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0" name="Freeform 18">
              <a:extLst>
                <a:ext uri="{FF2B5EF4-FFF2-40B4-BE49-F238E27FC236}">
                  <a16:creationId xmlns:a16="http://schemas.microsoft.com/office/drawing/2014/main" id="{870190F3-472B-4296-B88D-D6904B9F3085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1" name="Freeform 19">
              <a:extLst>
                <a:ext uri="{FF2B5EF4-FFF2-40B4-BE49-F238E27FC236}">
                  <a16:creationId xmlns:a16="http://schemas.microsoft.com/office/drawing/2014/main" id="{6CEA0F2B-4AAB-4A16-B7F1-CFCB0C0DCEEE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2" name="Freeform 20">
              <a:extLst>
                <a:ext uri="{FF2B5EF4-FFF2-40B4-BE49-F238E27FC236}">
                  <a16:creationId xmlns:a16="http://schemas.microsoft.com/office/drawing/2014/main" id="{CD64F657-7EE7-4AF2-ADE4-160C87E64D6B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3" name="Freeform 21">
              <a:extLst>
                <a:ext uri="{FF2B5EF4-FFF2-40B4-BE49-F238E27FC236}">
                  <a16:creationId xmlns:a16="http://schemas.microsoft.com/office/drawing/2014/main" id="{FA80A690-9084-4519-8D88-A01963C02369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4" name="Freeform 22">
              <a:extLst>
                <a:ext uri="{FF2B5EF4-FFF2-40B4-BE49-F238E27FC236}">
                  <a16:creationId xmlns:a16="http://schemas.microsoft.com/office/drawing/2014/main" id="{E847401D-2482-482A-AC12-D2E83C13546D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5" name="Freeform 23">
              <a:extLst>
                <a:ext uri="{FF2B5EF4-FFF2-40B4-BE49-F238E27FC236}">
                  <a16:creationId xmlns:a16="http://schemas.microsoft.com/office/drawing/2014/main" id="{86054F72-4509-4465-B9A8-8DAE3EFD35B0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6" name="Freeform 24">
              <a:extLst>
                <a:ext uri="{FF2B5EF4-FFF2-40B4-BE49-F238E27FC236}">
                  <a16:creationId xmlns:a16="http://schemas.microsoft.com/office/drawing/2014/main" id="{813850E4-4B62-4FDA-ABD6-F5A5AA5E7C28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7" name="Freeform 25">
              <a:extLst>
                <a:ext uri="{FF2B5EF4-FFF2-40B4-BE49-F238E27FC236}">
                  <a16:creationId xmlns:a16="http://schemas.microsoft.com/office/drawing/2014/main" id="{1B4F0124-2FAE-4D54-9ECC-E88A8031BBDE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8" name="Freeform 26">
              <a:extLst>
                <a:ext uri="{FF2B5EF4-FFF2-40B4-BE49-F238E27FC236}">
                  <a16:creationId xmlns:a16="http://schemas.microsoft.com/office/drawing/2014/main" id="{2A730E5F-DF9C-488E-B4E0-EE9F501529EE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9" name="Freeform 27">
              <a:extLst>
                <a:ext uri="{FF2B5EF4-FFF2-40B4-BE49-F238E27FC236}">
                  <a16:creationId xmlns:a16="http://schemas.microsoft.com/office/drawing/2014/main" id="{39861D7E-D8DA-436F-9E2F-5C08A8BFB4D5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0" name="Freeform 28">
              <a:extLst>
                <a:ext uri="{FF2B5EF4-FFF2-40B4-BE49-F238E27FC236}">
                  <a16:creationId xmlns:a16="http://schemas.microsoft.com/office/drawing/2014/main" id="{8B038F9F-6A9C-4E57-A659-0090AF470598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1" name="Freeform 29">
              <a:extLst>
                <a:ext uri="{FF2B5EF4-FFF2-40B4-BE49-F238E27FC236}">
                  <a16:creationId xmlns:a16="http://schemas.microsoft.com/office/drawing/2014/main" id="{15E4EB7D-754D-4053-9A23-596C7CFDA987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2" name="Freeform 30">
              <a:extLst>
                <a:ext uri="{FF2B5EF4-FFF2-40B4-BE49-F238E27FC236}">
                  <a16:creationId xmlns:a16="http://schemas.microsoft.com/office/drawing/2014/main" id="{28E147CB-2B8F-497B-B00B-C25E679DC5EB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3" name="Freeform 31">
              <a:extLst>
                <a:ext uri="{FF2B5EF4-FFF2-40B4-BE49-F238E27FC236}">
                  <a16:creationId xmlns:a16="http://schemas.microsoft.com/office/drawing/2014/main" id="{E68BC676-C787-429D-B59B-1A5CE062F78A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4" name="Freeform 32">
              <a:extLst>
                <a:ext uri="{FF2B5EF4-FFF2-40B4-BE49-F238E27FC236}">
                  <a16:creationId xmlns:a16="http://schemas.microsoft.com/office/drawing/2014/main" id="{71266960-73CB-44B9-9A97-810858989148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5" name="Freeform 33">
              <a:extLst>
                <a:ext uri="{FF2B5EF4-FFF2-40B4-BE49-F238E27FC236}">
                  <a16:creationId xmlns:a16="http://schemas.microsoft.com/office/drawing/2014/main" id="{3FF3AC5A-B742-4B29-8E04-03A71D82B9A6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6" name="Freeform 34">
              <a:extLst>
                <a:ext uri="{FF2B5EF4-FFF2-40B4-BE49-F238E27FC236}">
                  <a16:creationId xmlns:a16="http://schemas.microsoft.com/office/drawing/2014/main" id="{0C912743-E24B-4E48-8196-5FBD1ECEE9AD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7" name="Freeform 35">
              <a:extLst>
                <a:ext uri="{FF2B5EF4-FFF2-40B4-BE49-F238E27FC236}">
                  <a16:creationId xmlns:a16="http://schemas.microsoft.com/office/drawing/2014/main" id="{6E2F01F4-1410-4FE1-B043-EA97A1541F32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8" name="Freeform 36">
              <a:extLst>
                <a:ext uri="{FF2B5EF4-FFF2-40B4-BE49-F238E27FC236}">
                  <a16:creationId xmlns:a16="http://schemas.microsoft.com/office/drawing/2014/main" id="{58ACFF1C-49F0-414E-B9E3-DE4E9FFAA38A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9" name="Freeform 37">
              <a:extLst>
                <a:ext uri="{FF2B5EF4-FFF2-40B4-BE49-F238E27FC236}">
                  <a16:creationId xmlns:a16="http://schemas.microsoft.com/office/drawing/2014/main" id="{DACBD04B-22FF-4A4F-8B29-A2F31A05423A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0" name="Freeform 38">
              <a:extLst>
                <a:ext uri="{FF2B5EF4-FFF2-40B4-BE49-F238E27FC236}">
                  <a16:creationId xmlns:a16="http://schemas.microsoft.com/office/drawing/2014/main" id="{A13F6E37-C22B-4FD3-ADFE-9C53ECB44692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1" name="Freeform 39">
              <a:extLst>
                <a:ext uri="{FF2B5EF4-FFF2-40B4-BE49-F238E27FC236}">
                  <a16:creationId xmlns:a16="http://schemas.microsoft.com/office/drawing/2014/main" id="{76256F1D-405A-49F9-8592-A899623F2DB0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2" name="Freeform 40">
              <a:extLst>
                <a:ext uri="{FF2B5EF4-FFF2-40B4-BE49-F238E27FC236}">
                  <a16:creationId xmlns:a16="http://schemas.microsoft.com/office/drawing/2014/main" id="{2F9CAE14-DB05-4B70-867F-3F6164BDB74F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3" name="Freeform 41">
              <a:extLst>
                <a:ext uri="{FF2B5EF4-FFF2-40B4-BE49-F238E27FC236}">
                  <a16:creationId xmlns:a16="http://schemas.microsoft.com/office/drawing/2014/main" id="{30C7B10F-7027-41F9-BEE2-F1575CB690D6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4" name="Freeform 42">
              <a:extLst>
                <a:ext uri="{FF2B5EF4-FFF2-40B4-BE49-F238E27FC236}">
                  <a16:creationId xmlns:a16="http://schemas.microsoft.com/office/drawing/2014/main" id="{16B384B2-A2D9-4CB4-AF87-AF1004852B5B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5" name="Freeform 43">
              <a:extLst>
                <a:ext uri="{FF2B5EF4-FFF2-40B4-BE49-F238E27FC236}">
                  <a16:creationId xmlns:a16="http://schemas.microsoft.com/office/drawing/2014/main" id="{DC309D60-84B9-4652-BEF1-F71EFAD3A402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6" name="Freeform 44">
              <a:extLst>
                <a:ext uri="{FF2B5EF4-FFF2-40B4-BE49-F238E27FC236}">
                  <a16:creationId xmlns:a16="http://schemas.microsoft.com/office/drawing/2014/main" id="{A4440044-5486-483F-B652-7EE3849461B3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7" name="Freeform 45">
              <a:extLst>
                <a:ext uri="{FF2B5EF4-FFF2-40B4-BE49-F238E27FC236}">
                  <a16:creationId xmlns:a16="http://schemas.microsoft.com/office/drawing/2014/main" id="{446771E9-EA09-4256-8955-FE392C07AFC4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8" name="Freeform 46">
              <a:extLst>
                <a:ext uri="{FF2B5EF4-FFF2-40B4-BE49-F238E27FC236}">
                  <a16:creationId xmlns:a16="http://schemas.microsoft.com/office/drawing/2014/main" id="{FE985025-CAA5-44F2-9174-87CD1D8BA182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9" name="Freeform 47">
              <a:extLst>
                <a:ext uri="{FF2B5EF4-FFF2-40B4-BE49-F238E27FC236}">
                  <a16:creationId xmlns:a16="http://schemas.microsoft.com/office/drawing/2014/main" id="{1105FBBE-AD06-4F22-94D8-E2E98185FAA9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30" name="Freeform 48">
              <a:extLst>
                <a:ext uri="{FF2B5EF4-FFF2-40B4-BE49-F238E27FC236}">
                  <a16:creationId xmlns:a16="http://schemas.microsoft.com/office/drawing/2014/main" id="{8141824A-6AD4-4B53-B837-71461DD538CC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31" name="Freeform 49">
              <a:extLst>
                <a:ext uri="{FF2B5EF4-FFF2-40B4-BE49-F238E27FC236}">
                  <a16:creationId xmlns:a16="http://schemas.microsoft.com/office/drawing/2014/main" id="{1CEF1D95-CD6C-417A-9539-CB4DBAA5E07D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32" name="Freeform 50">
              <a:extLst>
                <a:ext uri="{FF2B5EF4-FFF2-40B4-BE49-F238E27FC236}">
                  <a16:creationId xmlns:a16="http://schemas.microsoft.com/office/drawing/2014/main" id="{BF6CB5D3-9648-4D73-AB7C-5374814E5BA2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33" name="Freeform 51">
              <a:extLst>
                <a:ext uri="{FF2B5EF4-FFF2-40B4-BE49-F238E27FC236}">
                  <a16:creationId xmlns:a16="http://schemas.microsoft.com/office/drawing/2014/main" id="{55F0E322-3AEE-482E-8E59-9FB04FACA931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34" name="Freeform 52">
              <a:extLst>
                <a:ext uri="{FF2B5EF4-FFF2-40B4-BE49-F238E27FC236}">
                  <a16:creationId xmlns:a16="http://schemas.microsoft.com/office/drawing/2014/main" id="{0D3C59AD-7CCF-4166-9D21-3C3484889312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35" name="Freeform 53">
              <a:extLst>
                <a:ext uri="{FF2B5EF4-FFF2-40B4-BE49-F238E27FC236}">
                  <a16:creationId xmlns:a16="http://schemas.microsoft.com/office/drawing/2014/main" id="{9C9DA4CE-7B4D-42AE-9264-92B7D7757DD8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36" name="Freeform 54">
              <a:extLst>
                <a:ext uri="{FF2B5EF4-FFF2-40B4-BE49-F238E27FC236}">
                  <a16:creationId xmlns:a16="http://schemas.microsoft.com/office/drawing/2014/main" id="{DBCBD0D2-5C9C-4B12-8CF8-9CA320825ED7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37" name="Freeform 55">
              <a:extLst>
                <a:ext uri="{FF2B5EF4-FFF2-40B4-BE49-F238E27FC236}">
                  <a16:creationId xmlns:a16="http://schemas.microsoft.com/office/drawing/2014/main" id="{CDCFBD31-7961-4587-876E-1FAFC4E74AB8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38" name="Freeform 56">
              <a:extLst>
                <a:ext uri="{FF2B5EF4-FFF2-40B4-BE49-F238E27FC236}">
                  <a16:creationId xmlns:a16="http://schemas.microsoft.com/office/drawing/2014/main" id="{52482C08-723A-4738-9787-3516B3C17145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39" name="Freeform 57">
              <a:extLst>
                <a:ext uri="{FF2B5EF4-FFF2-40B4-BE49-F238E27FC236}">
                  <a16:creationId xmlns:a16="http://schemas.microsoft.com/office/drawing/2014/main" id="{5B72A8F0-33E3-42CD-88C2-C35BEC0E9833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40" name="Freeform 58">
              <a:extLst>
                <a:ext uri="{FF2B5EF4-FFF2-40B4-BE49-F238E27FC236}">
                  <a16:creationId xmlns:a16="http://schemas.microsoft.com/office/drawing/2014/main" id="{73FC54A2-6588-499B-968A-79F4CA9CF5F3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41" name="Freeform 59">
              <a:extLst>
                <a:ext uri="{FF2B5EF4-FFF2-40B4-BE49-F238E27FC236}">
                  <a16:creationId xmlns:a16="http://schemas.microsoft.com/office/drawing/2014/main" id="{1E6AB002-C130-4648-A18E-BA496FF1756C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42" name="Freeform 60">
              <a:extLst>
                <a:ext uri="{FF2B5EF4-FFF2-40B4-BE49-F238E27FC236}">
                  <a16:creationId xmlns:a16="http://schemas.microsoft.com/office/drawing/2014/main" id="{B0044278-9F7F-4596-96D2-ACFBE0DEC0B1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43" name="Freeform 61">
              <a:extLst>
                <a:ext uri="{FF2B5EF4-FFF2-40B4-BE49-F238E27FC236}">
                  <a16:creationId xmlns:a16="http://schemas.microsoft.com/office/drawing/2014/main" id="{79F75E0D-27A7-44C1-BF19-495F4768F995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44" name="Freeform 62">
              <a:extLst>
                <a:ext uri="{FF2B5EF4-FFF2-40B4-BE49-F238E27FC236}">
                  <a16:creationId xmlns:a16="http://schemas.microsoft.com/office/drawing/2014/main" id="{E5B9E395-C74C-4D98-8911-EE2C765D8BEB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45" name="Freeform 63">
              <a:extLst>
                <a:ext uri="{FF2B5EF4-FFF2-40B4-BE49-F238E27FC236}">
                  <a16:creationId xmlns:a16="http://schemas.microsoft.com/office/drawing/2014/main" id="{53BB8418-388C-4142-9A80-8BF00A87F7B0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46" name="Freeform 64">
              <a:extLst>
                <a:ext uri="{FF2B5EF4-FFF2-40B4-BE49-F238E27FC236}">
                  <a16:creationId xmlns:a16="http://schemas.microsoft.com/office/drawing/2014/main" id="{0256DB41-B3C1-4FEB-B394-9762C00E7F70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47" name="Freeform 65">
              <a:extLst>
                <a:ext uri="{FF2B5EF4-FFF2-40B4-BE49-F238E27FC236}">
                  <a16:creationId xmlns:a16="http://schemas.microsoft.com/office/drawing/2014/main" id="{F2BC9C1F-3F30-47A6-B503-20FB179B7F3A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48" name="Freeform 66">
              <a:extLst>
                <a:ext uri="{FF2B5EF4-FFF2-40B4-BE49-F238E27FC236}">
                  <a16:creationId xmlns:a16="http://schemas.microsoft.com/office/drawing/2014/main" id="{F2E1921C-CA0E-4886-93CA-956A6497CF03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49" name="Freeform 67">
              <a:extLst>
                <a:ext uri="{FF2B5EF4-FFF2-40B4-BE49-F238E27FC236}">
                  <a16:creationId xmlns:a16="http://schemas.microsoft.com/office/drawing/2014/main" id="{33147323-CD74-4B45-8B3D-9FC2D6ABC4D5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50" name="Freeform 68">
              <a:extLst>
                <a:ext uri="{FF2B5EF4-FFF2-40B4-BE49-F238E27FC236}">
                  <a16:creationId xmlns:a16="http://schemas.microsoft.com/office/drawing/2014/main" id="{646502BE-8655-4E99-B8D3-19E6C1D2B9F4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51" name="Freeform 69">
              <a:extLst>
                <a:ext uri="{FF2B5EF4-FFF2-40B4-BE49-F238E27FC236}">
                  <a16:creationId xmlns:a16="http://schemas.microsoft.com/office/drawing/2014/main" id="{7B89F1B5-6B06-45D2-838B-039A44EFFD1B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52" name="Freeform 70">
              <a:extLst>
                <a:ext uri="{FF2B5EF4-FFF2-40B4-BE49-F238E27FC236}">
                  <a16:creationId xmlns:a16="http://schemas.microsoft.com/office/drawing/2014/main" id="{07A005EC-C937-4146-8D02-C00C5931EBCD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  <p:sp>
        <p:nvSpPr>
          <p:cNvPr id="263" name="Title 1">
            <a:extLst>
              <a:ext uri="{FF2B5EF4-FFF2-40B4-BE49-F238E27FC236}">
                <a16:creationId xmlns:a16="http://schemas.microsoft.com/office/drawing/2014/main" id="{3F36D6CC-3534-47CC-AECE-83EDA4639FB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69705" y="2158329"/>
            <a:ext cx="4000436" cy="860400"/>
          </a:xfrm>
          <a:prstGeom prst="rect">
            <a:avLst/>
          </a:prstGeo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de-DE" noProof="0" dirty="0"/>
          </a:p>
        </p:txBody>
      </p:sp>
      <p:sp>
        <p:nvSpPr>
          <p:cNvPr id="264" name="Subtitle 2">
            <a:extLst>
              <a:ext uri="{FF2B5EF4-FFF2-40B4-BE49-F238E27FC236}">
                <a16:creationId xmlns:a16="http://schemas.microsoft.com/office/drawing/2014/main" id="{C26FB38E-4E99-4AFB-8C8C-F03F7A963D9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69897" y="3200329"/>
            <a:ext cx="4020628" cy="64574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AE95BC52-A56D-4358-A294-750179EBB698}"/>
              </a:ext>
            </a:extLst>
          </p:cNvPr>
          <p:cNvGrpSpPr/>
          <p:nvPr userDrawn="1"/>
        </p:nvGrpSpPr>
        <p:grpSpPr>
          <a:xfrm>
            <a:off x="614191" y="876058"/>
            <a:ext cx="4855295" cy="3374475"/>
            <a:chOff x="6855933" y="899048"/>
            <a:chExt cx="4855295" cy="3374475"/>
          </a:xfrm>
          <a:solidFill>
            <a:schemeClr val="tx2"/>
          </a:solidFill>
        </p:grpSpPr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ECBD2AD5-9A79-4CFE-A808-769ADC8898F3}"/>
                </a:ext>
              </a:extLst>
            </p:cNvPr>
            <p:cNvSpPr/>
            <p:nvPr/>
          </p:nvSpPr>
          <p:spPr>
            <a:xfrm>
              <a:off x="6855933" y="899048"/>
              <a:ext cx="4855295" cy="3374475"/>
            </a:xfrm>
            <a:custGeom>
              <a:avLst/>
              <a:gdLst>
                <a:gd name="connsiteX0" fmla="*/ 6731 w 4855294"/>
                <a:gd name="connsiteY0" fmla="*/ 863542 h 3374474"/>
                <a:gd name="connsiteX1" fmla="*/ 6731 w 4855294"/>
                <a:gd name="connsiteY1" fmla="*/ 3095901 h 3374474"/>
                <a:gd name="connsiteX2" fmla="*/ 145659 w 4855294"/>
                <a:gd name="connsiteY2" fmla="*/ 3095901 h 3374474"/>
                <a:gd name="connsiteX3" fmla="*/ 145659 w 4855294"/>
                <a:gd name="connsiteY3" fmla="*/ 988380 h 3374474"/>
                <a:gd name="connsiteX4" fmla="*/ 4715918 w 4855294"/>
                <a:gd name="connsiteY4" fmla="*/ 179673 h 3374474"/>
                <a:gd name="connsiteX5" fmla="*/ 4715918 w 4855294"/>
                <a:gd name="connsiteY5" fmla="*/ 3234829 h 3374474"/>
                <a:gd name="connsiteX6" fmla="*/ 840208 w 4855294"/>
                <a:gd name="connsiteY6" fmla="*/ 3234829 h 3374474"/>
                <a:gd name="connsiteX7" fmla="*/ 840208 w 4855294"/>
                <a:gd name="connsiteY7" fmla="*/ 3373757 h 3374474"/>
                <a:gd name="connsiteX8" fmla="*/ 4854846 w 4855294"/>
                <a:gd name="connsiteY8" fmla="*/ 3373757 h 3374474"/>
                <a:gd name="connsiteX9" fmla="*/ 4854846 w 4855294"/>
                <a:gd name="connsiteY9" fmla="*/ 6731 h 3374474"/>
                <a:gd name="connsiteX10" fmla="*/ 6731 w 4855294"/>
                <a:gd name="connsiteY10" fmla="*/ 863542 h 3374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855294" h="3374474">
                  <a:moveTo>
                    <a:pt x="6731" y="863542"/>
                  </a:moveTo>
                  <a:lnTo>
                    <a:pt x="6731" y="3095901"/>
                  </a:lnTo>
                  <a:lnTo>
                    <a:pt x="145659" y="3095901"/>
                  </a:lnTo>
                  <a:lnTo>
                    <a:pt x="145659" y="988380"/>
                  </a:lnTo>
                  <a:lnTo>
                    <a:pt x="4715918" y="179673"/>
                  </a:lnTo>
                  <a:lnTo>
                    <a:pt x="4715918" y="3234829"/>
                  </a:lnTo>
                  <a:lnTo>
                    <a:pt x="840208" y="3234829"/>
                  </a:lnTo>
                  <a:lnTo>
                    <a:pt x="840208" y="3373757"/>
                  </a:lnTo>
                  <a:lnTo>
                    <a:pt x="4854846" y="3373757"/>
                  </a:lnTo>
                  <a:lnTo>
                    <a:pt x="4854846" y="6731"/>
                  </a:lnTo>
                  <a:lnTo>
                    <a:pt x="6731" y="86354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noProof="0" dirty="0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9EE673CB-A779-4F64-B72D-93428DD2B26D}"/>
                </a:ext>
              </a:extLst>
            </p:cNvPr>
            <p:cNvSpPr/>
            <p:nvPr/>
          </p:nvSpPr>
          <p:spPr>
            <a:xfrm>
              <a:off x="6855933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noProof="0" dirty="0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88144C98-507D-403B-8819-FBBF64A82FA3}"/>
                </a:ext>
              </a:extLst>
            </p:cNvPr>
            <p:cNvSpPr/>
            <p:nvPr/>
          </p:nvSpPr>
          <p:spPr>
            <a:xfrm>
              <a:off x="7133789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noProof="0" dirty="0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21919CB3-2430-4DA6-BF41-59A1EF9C03CB}"/>
                </a:ext>
              </a:extLst>
            </p:cNvPr>
            <p:cNvSpPr/>
            <p:nvPr/>
          </p:nvSpPr>
          <p:spPr>
            <a:xfrm>
              <a:off x="7411555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noProof="0" dirty="0"/>
            </a:p>
          </p:txBody>
        </p:sp>
      </p:grpSp>
      <p:grpSp>
        <p:nvGrpSpPr>
          <p:cNvPr id="82" name="Group 4">
            <a:extLst>
              <a:ext uri="{FF2B5EF4-FFF2-40B4-BE49-F238E27FC236}">
                <a16:creationId xmlns:a16="http://schemas.microsoft.com/office/drawing/2014/main" id="{C5FADEE5-07C4-41A9-88D6-C6D2ED1362B8}"/>
              </a:ext>
            </a:extLst>
          </p:cNvPr>
          <p:cNvGrpSpPr>
            <a:grpSpLocks noChangeAspect="1"/>
          </p:cNvGrpSpPr>
          <p:nvPr userDrawn="1"/>
        </p:nvGrpSpPr>
        <p:grpSpPr bwMode="invGray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83" name="Freeform 5">
              <a:extLst>
                <a:ext uri="{FF2B5EF4-FFF2-40B4-BE49-F238E27FC236}">
                  <a16:creationId xmlns:a16="http://schemas.microsoft.com/office/drawing/2014/main" id="{5A2C465B-7D43-431D-A35E-50762E7696FC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84" name="Freeform 6">
              <a:extLst>
                <a:ext uri="{FF2B5EF4-FFF2-40B4-BE49-F238E27FC236}">
                  <a16:creationId xmlns:a16="http://schemas.microsoft.com/office/drawing/2014/main" id="{AC35E6C1-71A8-4C9D-A1A5-682B0BD0A03F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</p:grpSp>
      <p:sp>
        <p:nvSpPr>
          <p:cNvPr id="85" name="Rectangle 9">
            <a:extLst>
              <a:ext uri="{FF2B5EF4-FFF2-40B4-BE49-F238E27FC236}">
                <a16:creationId xmlns:a16="http://schemas.microsoft.com/office/drawing/2014/main" id="{F314F876-941A-40CD-B64C-56E5901EC54D}"/>
              </a:ext>
            </a:extLst>
          </p:cNvPr>
          <p:cNvSpPr/>
          <p:nvPr userDrawn="1"/>
        </p:nvSpPr>
        <p:spPr>
          <a:xfrm>
            <a:off x="-2054226" y="-8465"/>
            <a:ext cx="1952299" cy="2446866"/>
          </a:xfrm>
          <a:prstGeom prst="rect">
            <a:avLst/>
          </a:pr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3972" tIns="53972" rIns="53972" bIns="53972" rtlCol="0" anchor="t" anchorCtr="0"/>
          <a:lstStyle/>
          <a:p>
            <a:pPr>
              <a:spcAft>
                <a:spcPts val="0"/>
              </a:spcAft>
            </a:pPr>
            <a:r>
              <a:rPr lang="en-US" sz="1200" b="1" dirty="0">
                <a:solidFill>
                  <a:srgbClr val="000000"/>
                </a:solidFill>
                <a:latin typeface="EYInterstate Light" panose="02000506000000020004" pitchFamily="2" charset="0"/>
              </a:rPr>
              <a:t>INSTRUCTIONS:</a:t>
            </a:r>
            <a:br>
              <a:rPr lang="en-US" sz="1200" b="1" dirty="0">
                <a:solidFill>
                  <a:srgbClr val="000000"/>
                </a:solidFill>
                <a:latin typeface="EYInterstate Light" panose="02000506000000020004" pitchFamily="2" charset="0"/>
              </a:rPr>
            </a:br>
            <a:r>
              <a:rPr lang="en-US" sz="1200" dirty="0">
                <a:solidFill>
                  <a:srgbClr val="000000"/>
                </a:solidFill>
              </a:rPr>
              <a:t>In order to use this frame cover template, </a:t>
            </a:r>
            <a:br>
              <a:rPr lang="en-US" sz="1200" dirty="0">
                <a:solidFill>
                  <a:srgbClr val="000000"/>
                </a:solidFill>
              </a:rPr>
            </a:br>
            <a:r>
              <a:rPr lang="en-US" sz="1200" dirty="0">
                <a:solidFill>
                  <a:srgbClr val="000000"/>
                </a:solidFill>
              </a:rPr>
              <a:t>an approved EY better question is required. See </a:t>
            </a:r>
            <a:r>
              <a:rPr lang="en-US" sz="1200" u="sng" dirty="0">
                <a:solidFill>
                  <a:srgbClr val="0563C1"/>
                </a:solidFill>
                <a:ea typeface="Calibri" panose="020F0502020204030204" pitchFamily="34" charset="0"/>
                <a:hlinkClick r:id="rId2"/>
              </a:rPr>
              <a:t>http://brandingzone.ey.net/national/bzcontest.nsf/controldocview/BetterQuestions/$file/fullpage.html#firstPage</a:t>
            </a:r>
            <a:r>
              <a:rPr lang="en-US" sz="1200" dirty="0">
                <a:ea typeface="Calibri" panose="020F0502020204030204" pitchFamily="34" charset="0"/>
              </a:rPr>
              <a:t> </a:t>
            </a:r>
            <a:r>
              <a:rPr lang="en-US" sz="1200" dirty="0">
                <a:solidFill>
                  <a:srgbClr val="000000"/>
                </a:solidFill>
              </a:rPr>
              <a:t>for information on how to formulate better questions.</a:t>
            </a:r>
            <a:endParaRPr lang="de-DE" sz="1200" dirty="0">
              <a:solidFill>
                <a:srgbClr val="000000"/>
              </a:solidFill>
            </a:endParaRPr>
          </a:p>
        </p:txBody>
      </p:sp>
      <p:grpSp>
        <p:nvGrpSpPr>
          <p:cNvPr id="86" name="Gruppieren 85"/>
          <p:cNvGrpSpPr/>
          <p:nvPr userDrawn="1"/>
        </p:nvGrpSpPr>
        <p:grpSpPr bwMode="invGray">
          <a:xfrm>
            <a:off x="9713775" y="440057"/>
            <a:ext cx="1868402" cy="962657"/>
            <a:chOff x="9731769" y="638177"/>
            <a:chExt cx="2017456" cy="1039454"/>
          </a:xfrm>
        </p:grpSpPr>
        <p:sp>
          <p:nvSpPr>
            <p:cNvPr id="87" name="Freeform 5">
              <a:extLst>
                <a:ext uri="{FF2B5EF4-FFF2-40B4-BE49-F238E27FC236}">
                  <a16:creationId xmlns:a16="http://schemas.microsoft.com/office/drawing/2014/main" id="{8A9BDB58-231B-4B70-8059-20CAA94E9F64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9731769" y="1406980"/>
              <a:ext cx="19613" cy="91524"/>
            </a:xfrm>
            <a:custGeom>
              <a:avLst/>
              <a:gdLst>
                <a:gd name="T0" fmla="*/ 29 w 29"/>
                <a:gd name="T1" fmla="*/ 14 h 134"/>
                <a:gd name="T2" fmla="*/ 28 w 29"/>
                <a:gd name="T3" fmla="*/ 20 h 134"/>
                <a:gd name="T4" fmla="*/ 25 w 29"/>
                <a:gd name="T5" fmla="*/ 25 h 134"/>
                <a:gd name="T6" fmla="*/ 20 w 29"/>
                <a:gd name="T7" fmla="*/ 28 h 134"/>
                <a:gd name="T8" fmla="*/ 15 w 29"/>
                <a:gd name="T9" fmla="*/ 29 h 134"/>
                <a:gd name="T10" fmla="*/ 9 w 29"/>
                <a:gd name="T11" fmla="*/ 28 h 134"/>
                <a:gd name="T12" fmla="*/ 5 w 29"/>
                <a:gd name="T13" fmla="*/ 25 h 134"/>
                <a:gd name="T14" fmla="*/ 1 w 29"/>
                <a:gd name="T15" fmla="*/ 20 h 134"/>
                <a:gd name="T16" fmla="*/ 0 w 29"/>
                <a:gd name="T17" fmla="*/ 14 h 134"/>
                <a:gd name="T18" fmla="*/ 1 w 29"/>
                <a:gd name="T19" fmla="*/ 9 h 134"/>
                <a:gd name="T20" fmla="*/ 5 w 29"/>
                <a:gd name="T21" fmla="*/ 4 h 134"/>
                <a:gd name="T22" fmla="*/ 9 w 29"/>
                <a:gd name="T23" fmla="*/ 1 h 134"/>
                <a:gd name="T24" fmla="*/ 15 w 29"/>
                <a:gd name="T25" fmla="*/ 0 h 134"/>
                <a:gd name="T26" fmla="*/ 20 w 29"/>
                <a:gd name="T27" fmla="*/ 1 h 134"/>
                <a:gd name="T28" fmla="*/ 25 w 29"/>
                <a:gd name="T29" fmla="*/ 4 h 134"/>
                <a:gd name="T30" fmla="*/ 28 w 29"/>
                <a:gd name="T31" fmla="*/ 9 h 134"/>
                <a:gd name="T32" fmla="*/ 29 w 29"/>
                <a:gd name="T33" fmla="*/ 14 h 134"/>
                <a:gd name="T34" fmla="*/ 2 w 29"/>
                <a:gd name="T35" fmla="*/ 134 h 134"/>
                <a:gd name="T36" fmla="*/ 2 w 29"/>
                <a:gd name="T37" fmla="*/ 37 h 134"/>
                <a:gd name="T38" fmla="*/ 28 w 29"/>
                <a:gd name="T39" fmla="*/ 37 h 134"/>
                <a:gd name="T40" fmla="*/ 28 w 29"/>
                <a:gd name="T41" fmla="*/ 134 h 134"/>
                <a:gd name="T42" fmla="*/ 2 w 29"/>
                <a:gd name="T43" fmla="*/ 134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9" h="134">
                  <a:moveTo>
                    <a:pt x="29" y="14"/>
                  </a:moveTo>
                  <a:cubicBezTo>
                    <a:pt x="29" y="16"/>
                    <a:pt x="29" y="18"/>
                    <a:pt x="28" y="20"/>
                  </a:cubicBezTo>
                  <a:cubicBezTo>
                    <a:pt x="28" y="22"/>
                    <a:pt x="26" y="23"/>
                    <a:pt x="25" y="25"/>
                  </a:cubicBezTo>
                  <a:cubicBezTo>
                    <a:pt x="24" y="26"/>
                    <a:pt x="22" y="27"/>
                    <a:pt x="20" y="28"/>
                  </a:cubicBezTo>
                  <a:cubicBezTo>
                    <a:pt x="19" y="29"/>
                    <a:pt x="17" y="29"/>
                    <a:pt x="15" y="29"/>
                  </a:cubicBezTo>
                  <a:cubicBezTo>
                    <a:pt x="13" y="29"/>
                    <a:pt x="11" y="29"/>
                    <a:pt x="9" y="28"/>
                  </a:cubicBezTo>
                  <a:cubicBezTo>
                    <a:pt x="7" y="27"/>
                    <a:pt x="6" y="26"/>
                    <a:pt x="5" y="25"/>
                  </a:cubicBezTo>
                  <a:cubicBezTo>
                    <a:pt x="3" y="23"/>
                    <a:pt x="2" y="22"/>
                    <a:pt x="1" y="20"/>
                  </a:cubicBezTo>
                  <a:cubicBezTo>
                    <a:pt x="1" y="18"/>
                    <a:pt x="0" y="16"/>
                    <a:pt x="0" y="14"/>
                  </a:cubicBezTo>
                  <a:cubicBezTo>
                    <a:pt x="0" y="12"/>
                    <a:pt x="1" y="11"/>
                    <a:pt x="1" y="9"/>
                  </a:cubicBezTo>
                  <a:cubicBezTo>
                    <a:pt x="2" y="7"/>
                    <a:pt x="3" y="5"/>
                    <a:pt x="5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2" y="2"/>
                    <a:pt x="24" y="3"/>
                    <a:pt x="25" y="4"/>
                  </a:cubicBezTo>
                  <a:cubicBezTo>
                    <a:pt x="26" y="5"/>
                    <a:pt x="28" y="7"/>
                    <a:pt x="28" y="9"/>
                  </a:cubicBezTo>
                  <a:cubicBezTo>
                    <a:pt x="29" y="11"/>
                    <a:pt x="29" y="12"/>
                    <a:pt x="29" y="14"/>
                  </a:cubicBezTo>
                  <a:close/>
                  <a:moveTo>
                    <a:pt x="2" y="134"/>
                  </a:moveTo>
                  <a:cubicBezTo>
                    <a:pt x="2" y="37"/>
                    <a:pt x="2" y="37"/>
                    <a:pt x="2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134"/>
                    <a:pt x="28" y="134"/>
                    <a:pt x="28" y="134"/>
                  </a:cubicBezTo>
                  <a:lnTo>
                    <a:pt x="2" y="1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88" name="Freeform 6">
              <a:extLst>
                <a:ext uri="{FF2B5EF4-FFF2-40B4-BE49-F238E27FC236}">
                  <a16:creationId xmlns:a16="http://schemas.microsoft.com/office/drawing/2014/main" id="{97DAE07B-DE87-4358-BA44-6531EF3573CD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9767071" y="1430515"/>
              <a:ext cx="58837" cy="67989"/>
            </a:xfrm>
            <a:custGeom>
              <a:avLst/>
              <a:gdLst>
                <a:gd name="T0" fmla="*/ 59 w 85"/>
                <a:gd name="T1" fmla="*/ 99 h 99"/>
                <a:gd name="T2" fmla="*/ 59 w 85"/>
                <a:gd name="T3" fmla="*/ 47 h 99"/>
                <a:gd name="T4" fmla="*/ 55 w 85"/>
                <a:gd name="T5" fmla="*/ 30 h 99"/>
                <a:gd name="T6" fmla="*/ 43 w 85"/>
                <a:gd name="T7" fmla="*/ 24 h 99"/>
                <a:gd name="T8" fmla="*/ 35 w 85"/>
                <a:gd name="T9" fmla="*/ 25 h 99"/>
                <a:gd name="T10" fmla="*/ 30 w 85"/>
                <a:gd name="T11" fmla="*/ 29 h 99"/>
                <a:gd name="T12" fmla="*/ 27 w 85"/>
                <a:gd name="T13" fmla="*/ 35 h 99"/>
                <a:gd name="T14" fmla="*/ 26 w 85"/>
                <a:gd name="T15" fmla="*/ 46 h 99"/>
                <a:gd name="T16" fmla="*/ 26 w 85"/>
                <a:gd name="T17" fmla="*/ 99 h 99"/>
                <a:gd name="T18" fmla="*/ 0 w 85"/>
                <a:gd name="T19" fmla="*/ 99 h 99"/>
                <a:gd name="T20" fmla="*/ 0 w 85"/>
                <a:gd name="T21" fmla="*/ 2 h 99"/>
                <a:gd name="T22" fmla="*/ 26 w 85"/>
                <a:gd name="T23" fmla="*/ 2 h 99"/>
                <a:gd name="T24" fmla="*/ 26 w 85"/>
                <a:gd name="T25" fmla="*/ 8 h 99"/>
                <a:gd name="T26" fmla="*/ 30 w 85"/>
                <a:gd name="T27" fmla="*/ 5 h 99"/>
                <a:gd name="T28" fmla="*/ 35 w 85"/>
                <a:gd name="T29" fmla="*/ 2 h 99"/>
                <a:gd name="T30" fmla="*/ 42 w 85"/>
                <a:gd name="T31" fmla="*/ 1 h 99"/>
                <a:gd name="T32" fmla="*/ 49 w 85"/>
                <a:gd name="T33" fmla="*/ 0 h 99"/>
                <a:gd name="T34" fmla="*/ 65 w 85"/>
                <a:gd name="T35" fmla="*/ 3 h 99"/>
                <a:gd name="T36" fmla="*/ 76 w 85"/>
                <a:gd name="T37" fmla="*/ 12 h 99"/>
                <a:gd name="T38" fmla="*/ 82 w 85"/>
                <a:gd name="T39" fmla="*/ 26 h 99"/>
                <a:gd name="T40" fmla="*/ 85 w 85"/>
                <a:gd name="T41" fmla="*/ 44 h 99"/>
                <a:gd name="T42" fmla="*/ 85 w 85"/>
                <a:gd name="T43" fmla="*/ 99 h 99"/>
                <a:gd name="T44" fmla="*/ 59 w 85"/>
                <a:gd name="T45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5" h="99">
                  <a:moveTo>
                    <a:pt x="59" y="99"/>
                  </a:moveTo>
                  <a:cubicBezTo>
                    <a:pt x="59" y="47"/>
                    <a:pt x="59" y="47"/>
                    <a:pt x="59" y="47"/>
                  </a:cubicBezTo>
                  <a:cubicBezTo>
                    <a:pt x="59" y="39"/>
                    <a:pt x="58" y="33"/>
                    <a:pt x="55" y="30"/>
                  </a:cubicBezTo>
                  <a:cubicBezTo>
                    <a:pt x="53" y="26"/>
                    <a:pt x="49" y="24"/>
                    <a:pt x="43" y="24"/>
                  </a:cubicBezTo>
                  <a:cubicBezTo>
                    <a:pt x="40" y="24"/>
                    <a:pt x="38" y="24"/>
                    <a:pt x="35" y="25"/>
                  </a:cubicBezTo>
                  <a:cubicBezTo>
                    <a:pt x="33" y="26"/>
                    <a:pt x="32" y="27"/>
                    <a:pt x="30" y="29"/>
                  </a:cubicBezTo>
                  <a:cubicBezTo>
                    <a:pt x="29" y="30"/>
                    <a:pt x="28" y="33"/>
                    <a:pt x="27" y="35"/>
                  </a:cubicBezTo>
                  <a:cubicBezTo>
                    <a:pt x="26" y="38"/>
                    <a:pt x="26" y="42"/>
                    <a:pt x="26" y="46"/>
                  </a:cubicBezTo>
                  <a:cubicBezTo>
                    <a:pt x="26" y="99"/>
                    <a:pt x="26" y="99"/>
                    <a:pt x="26" y="99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7" y="7"/>
                    <a:pt x="28" y="6"/>
                    <a:pt x="30" y="5"/>
                  </a:cubicBezTo>
                  <a:cubicBezTo>
                    <a:pt x="31" y="4"/>
                    <a:pt x="33" y="3"/>
                    <a:pt x="35" y="2"/>
                  </a:cubicBezTo>
                  <a:cubicBezTo>
                    <a:pt x="37" y="2"/>
                    <a:pt x="39" y="1"/>
                    <a:pt x="42" y="1"/>
                  </a:cubicBezTo>
                  <a:cubicBezTo>
                    <a:pt x="44" y="0"/>
                    <a:pt x="46" y="0"/>
                    <a:pt x="49" y="0"/>
                  </a:cubicBezTo>
                  <a:cubicBezTo>
                    <a:pt x="55" y="0"/>
                    <a:pt x="60" y="1"/>
                    <a:pt x="65" y="3"/>
                  </a:cubicBezTo>
                  <a:cubicBezTo>
                    <a:pt x="69" y="5"/>
                    <a:pt x="73" y="8"/>
                    <a:pt x="76" y="12"/>
                  </a:cubicBezTo>
                  <a:cubicBezTo>
                    <a:pt x="79" y="16"/>
                    <a:pt x="81" y="20"/>
                    <a:pt x="82" y="26"/>
                  </a:cubicBezTo>
                  <a:cubicBezTo>
                    <a:pt x="84" y="31"/>
                    <a:pt x="85" y="38"/>
                    <a:pt x="85" y="44"/>
                  </a:cubicBezTo>
                  <a:cubicBezTo>
                    <a:pt x="85" y="99"/>
                    <a:pt x="85" y="99"/>
                    <a:pt x="85" y="99"/>
                  </a:cubicBezTo>
                  <a:lnTo>
                    <a:pt x="59" y="9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89" name="Freeform 7">
              <a:extLst>
                <a:ext uri="{FF2B5EF4-FFF2-40B4-BE49-F238E27FC236}">
                  <a16:creationId xmlns:a16="http://schemas.microsoft.com/office/drawing/2014/main" id="{39829C97-B9FD-4508-8651-C460629865A1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9880823" y="1410902"/>
              <a:ext cx="71912" cy="87602"/>
            </a:xfrm>
            <a:custGeom>
              <a:avLst/>
              <a:gdLst>
                <a:gd name="T0" fmla="*/ 105 w 105"/>
                <a:gd name="T1" fmla="*/ 64 h 129"/>
                <a:gd name="T2" fmla="*/ 103 w 105"/>
                <a:gd name="T3" fmla="*/ 85 h 129"/>
                <a:gd name="T4" fmla="*/ 96 w 105"/>
                <a:gd name="T5" fmla="*/ 101 h 129"/>
                <a:gd name="T6" fmla="*/ 85 w 105"/>
                <a:gd name="T7" fmla="*/ 114 h 129"/>
                <a:gd name="T8" fmla="*/ 71 w 105"/>
                <a:gd name="T9" fmla="*/ 122 h 129"/>
                <a:gd name="T10" fmla="*/ 55 w 105"/>
                <a:gd name="T11" fmla="*/ 128 h 129"/>
                <a:gd name="T12" fmla="*/ 39 w 105"/>
                <a:gd name="T13" fmla="*/ 129 h 129"/>
                <a:gd name="T14" fmla="*/ 0 w 105"/>
                <a:gd name="T15" fmla="*/ 129 h 129"/>
                <a:gd name="T16" fmla="*/ 0 w 105"/>
                <a:gd name="T17" fmla="*/ 0 h 129"/>
                <a:gd name="T18" fmla="*/ 41 w 105"/>
                <a:gd name="T19" fmla="*/ 0 h 129"/>
                <a:gd name="T20" fmla="*/ 67 w 105"/>
                <a:gd name="T21" fmla="*/ 3 h 129"/>
                <a:gd name="T22" fmla="*/ 87 w 105"/>
                <a:gd name="T23" fmla="*/ 14 h 129"/>
                <a:gd name="T24" fmla="*/ 100 w 105"/>
                <a:gd name="T25" fmla="*/ 34 h 129"/>
                <a:gd name="T26" fmla="*/ 105 w 105"/>
                <a:gd name="T27" fmla="*/ 64 h 129"/>
                <a:gd name="T28" fmla="*/ 79 w 105"/>
                <a:gd name="T29" fmla="*/ 64 h 129"/>
                <a:gd name="T30" fmla="*/ 76 w 105"/>
                <a:gd name="T31" fmla="*/ 47 h 129"/>
                <a:gd name="T32" fmla="*/ 70 w 105"/>
                <a:gd name="T33" fmla="*/ 35 h 129"/>
                <a:gd name="T34" fmla="*/ 58 w 105"/>
                <a:gd name="T35" fmla="*/ 27 h 129"/>
                <a:gd name="T36" fmla="*/ 40 w 105"/>
                <a:gd name="T37" fmla="*/ 25 h 129"/>
                <a:gd name="T38" fmla="*/ 26 w 105"/>
                <a:gd name="T39" fmla="*/ 25 h 129"/>
                <a:gd name="T40" fmla="*/ 26 w 105"/>
                <a:gd name="T41" fmla="*/ 104 h 129"/>
                <a:gd name="T42" fmla="*/ 39 w 105"/>
                <a:gd name="T43" fmla="*/ 104 h 129"/>
                <a:gd name="T44" fmla="*/ 57 w 105"/>
                <a:gd name="T45" fmla="*/ 101 h 129"/>
                <a:gd name="T46" fmla="*/ 69 w 105"/>
                <a:gd name="T47" fmla="*/ 93 h 129"/>
                <a:gd name="T48" fmla="*/ 76 w 105"/>
                <a:gd name="T49" fmla="*/ 81 h 129"/>
                <a:gd name="T50" fmla="*/ 79 w 105"/>
                <a:gd name="T51" fmla="*/ 64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5" h="129">
                  <a:moveTo>
                    <a:pt x="105" y="64"/>
                  </a:moveTo>
                  <a:cubicBezTo>
                    <a:pt x="105" y="72"/>
                    <a:pt x="104" y="79"/>
                    <a:pt x="103" y="85"/>
                  </a:cubicBezTo>
                  <a:cubicBezTo>
                    <a:pt x="101" y="91"/>
                    <a:pt x="99" y="97"/>
                    <a:pt x="96" y="101"/>
                  </a:cubicBezTo>
                  <a:cubicBezTo>
                    <a:pt x="92" y="106"/>
                    <a:pt x="89" y="110"/>
                    <a:pt x="85" y="114"/>
                  </a:cubicBezTo>
                  <a:cubicBezTo>
                    <a:pt x="80" y="117"/>
                    <a:pt x="76" y="120"/>
                    <a:pt x="71" y="122"/>
                  </a:cubicBezTo>
                  <a:cubicBezTo>
                    <a:pt x="66" y="125"/>
                    <a:pt x="61" y="126"/>
                    <a:pt x="55" y="128"/>
                  </a:cubicBezTo>
                  <a:cubicBezTo>
                    <a:pt x="50" y="129"/>
                    <a:pt x="44" y="129"/>
                    <a:pt x="39" y="129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50" y="0"/>
                    <a:pt x="59" y="1"/>
                    <a:pt x="67" y="3"/>
                  </a:cubicBezTo>
                  <a:cubicBezTo>
                    <a:pt x="74" y="5"/>
                    <a:pt x="81" y="9"/>
                    <a:pt x="87" y="14"/>
                  </a:cubicBezTo>
                  <a:cubicBezTo>
                    <a:pt x="93" y="19"/>
                    <a:pt x="97" y="26"/>
                    <a:pt x="100" y="34"/>
                  </a:cubicBezTo>
                  <a:cubicBezTo>
                    <a:pt x="104" y="43"/>
                    <a:pt x="105" y="53"/>
                    <a:pt x="105" y="64"/>
                  </a:cubicBezTo>
                  <a:close/>
                  <a:moveTo>
                    <a:pt x="79" y="64"/>
                  </a:moveTo>
                  <a:cubicBezTo>
                    <a:pt x="79" y="58"/>
                    <a:pt x="78" y="52"/>
                    <a:pt x="76" y="47"/>
                  </a:cubicBezTo>
                  <a:cubicBezTo>
                    <a:pt x="75" y="42"/>
                    <a:pt x="73" y="38"/>
                    <a:pt x="70" y="35"/>
                  </a:cubicBezTo>
                  <a:cubicBezTo>
                    <a:pt x="66" y="31"/>
                    <a:pt x="62" y="29"/>
                    <a:pt x="58" y="27"/>
                  </a:cubicBezTo>
                  <a:cubicBezTo>
                    <a:pt x="53" y="26"/>
                    <a:pt x="47" y="25"/>
                    <a:pt x="40" y="25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6" y="104"/>
                    <a:pt x="26" y="104"/>
                    <a:pt x="26" y="104"/>
                  </a:cubicBezTo>
                  <a:cubicBezTo>
                    <a:pt x="39" y="104"/>
                    <a:pt x="39" y="104"/>
                    <a:pt x="39" y="104"/>
                  </a:cubicBezTo>
                  <a:cubicBezTo>
                    <a:pt x="46" y="104"/>
                    <a:pt x="52" y="103"/>
                    <a:pt x="57" y="101"/>
                  </a:cubicBezTo>
                  <a:cubicBezTo>
                    <a:pt x="62" y="99"/>
                    <a:pt x="66" y="97"/>
                    <a:pt x="69" y="93"/>
                  </a:cubicBezTo>
                  <a:cubicBezTo>
                    <a:pt x="72" y="90"/>
                    <a:pt x="75" y="85"/>
                    <a:pt x="76" y="81"/>
                  </a:cubicBezTo>
                  <a:cubicBezTo>
                    <a:pt x="78" y="76"/>
                    <a:pt x="79" y="70"/>
                    <a:pt x="79" y="6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90" name="Freeform 8">
              <a:extLst>
                <a:ext uri="{FF2B5EF4-FFF2-40B4-BE49-F238E27FC236}">
                  <a16:creationId xmlns:a16="http://schemas.microsoft.com/office/drawing/2014/main" id="{E6E8D961-2633-4DD4-9603-DC987B33CBF8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9964502" y="1430515"/>
              <a:ext cx="56222" cy="69297"/>
            </a:xfrm>
            <a:custGeom>
              <a:avLst/>
              <a:gdLst>
                <a:gd name="T0" fmla="*/ 84 w 84"/>
                <a:gd name="T1" fmla="*/ 51 h 101"/>
                <a:gd name="T2" fmla="*/ 84 w 84"/>
                <a:gd name="T3" fmla="*/ 55 h 101"/>
                <a:gd name="T4" fmla="*/ 84 w 84"/>
                <a:gd name="T5" fmla="*/ 59 h 101"/>
                <a:gd name="T6" fmla="*/ 26 w 84"/>
                <a:gd name="T7" fmla="*/ 59 h 101"/>
                <a:gd name="T8" fmla="*/ 28 w 84"/>
                <a:gd name="T9" fmla="*/ 67 h 101"/>
                <a:gd name="T10" fmla="*/ 32 w 84"/>
                <a:gd name="T11" fmla="*/ 73 h 101"/>
                <a:gd name="T12" fmla="*/ 39 w 84"/>
                <a:gd name="T13" fmla="*/ 76 h 101"/>
                <a:gd name="T14" fmla="*/ 46 w 84"/>
                <a:gd name="T15" fmla="*/ 77 h 101"/>
                <a:gd name="T16" fmla="*/ 50 w 84"/>
                <a:gd name="T17" fmla="*/ 77 h 101"/>
                <a:gd name="T18" fmla="*/ 55 w 84"/>
                <a:gd name="T19" fmla="*/ 75 h 101"/>
                <a:gd name="T20" fmla="*/ 59 w 84"/>
                <a:gd name="T21" fmla="*/ 73 h 101"/>
                <a:gd name="T22" fmla="*/ 62 w 84"/>
                <a:gd name="T23" fmla="*/ 70 h 101"/>
                <a:gd name="T24" fmla="*/ 80 w 84"/>
                <a:gd name="T25" fmla="*/ 85 h 101"/>
                <a:gd name="T26" fmla="*/ 74 w 84"/>
                <a:gd name="T27" fmla="*/ 92 h 101"/>
                <a:gd name="T28" fmla="*/ 65 w 84"/>
                <a:gd name="T29" fmla="*/ 97 h 101"/>
                <a:gd name="T30" fmla="*/ 55 w 84"/>
                <a:gd name="T31" fmla="*/ 100 h 101"/>
                <a:gd name="T32" fmla="*/ 46 w 84"/>
                <a:gd name="T33" fmla="*/ 101 h 101"/>
                <a:gd name="T34" fmla="*/ 31 w 84"/>
                <a:gd name="T35" fmla="*/ 99 h 101"/>
                <a:gd name="T36" fmla="*/ 20 w 84"/>
                <a:gd name="T37" fmla="*/ 94 h 101"/>
                <a:gd name="T38" fmla="*/ 12 w 84"/>
                <a:gd name="T39" fmla="*/ 87 h 101"/>
                <a:gd name="T40" fmla="*/ 5 w 84"/>
                <a:gd name="T41" fmla="*/ 77 h 101"/>
                <a:gd name="T42" fmla="*/ 1 w 84"/>
                <a:gd name="T43" fmla="*/ 65 h 101"/>
                <a:gd name="T44" fmla="*/ 0 w 84"/>
                <a:gd name="T45" fmla="*/ 51 h 101"/>
                <a:gd name="T46" fmla="*/ 3 w 84"/>
                <a:gd name="T47" fmla="*/ 30 h 101"/>
                <a:gd name="T48" fmla="*/ 12 w 84"/>
                <a:gd name="T49" fmla="*/ 14 h 101"/>
                <a:gd name="T50" fmla="*/ 26 w 84"/>
                <a:gd name="T51" fmla="*/ 4 h 101"/>
                <a:gd name="T52" fmla="*/ 43 w 84"/>
                <a:gd name="T53" fmla="*/ 0 h 101"/>
                <a:gd name="T54" fmla="*/ 61 w 84"/>
                <a:gd name="T55" fmla="*/ 4 h 101"/>
                <a:gd name="T56" fmla="*/ 73 w 84"/>
                <a:gd name="T57" fmla="*/ 15 h 101"/>
                <a:gd name="T58" fmla="*/ 81 w 84"/>
                <a:gd name="T59" fmla="*/ 31 h 101"/>
                <a:gd name="T60" fmla="*/ 84 w 84"/>
                <a:gd name="T61" fmla="*/ 51 h 101"/>
                <a:gd name="T62" fmla="*/ 59 w 84"/>
                <a:gd name="T63" fmla="*/ 40 h 101"/>
                <a:gd name="T64" fmla="*/ 58 w 84"/>
                <a:gd name="T65" fmla="*/ 33 h 101"/>
                <a:gd name="T66" fmla="*/ 55 w 84"/>
                <a:gd name="T67" fmla="*/ 28 h 101"/>
                <a:gd name="T68" fmla="*/ 49 w 84"/>
                <a:gd name="T69" fmla="*/ 24 h 101"/>
                <a:gd name="T70" fmla="*/ 42 w 84"/>
                <a:gd name="T71" fmla="*/ 22 h 101"/>
                <a:gd name="T72" fmla="*/ 36 w 84"/>
                <a:gd name="T73" fmla="*/ 24 h 101"/>
                <a:gd name="T74" fmla="*/ 31 w 84"/>
                <a:gd name="T75" fmla="*/ 27 h 101"/>
                <a:gd name="T76" fmla="*/ 28 w 84"/>
                <a:gd name="T77" fmla="*/ 33 h 101"/>
                <a:gd name="T78" fmla="*/ 26 w 84"/>
                <a:gd name="T79" fmla="*/ 40 h 101"/>
                <a:gd name="T80" fmla="*/ 59 w 84"/>
                <a:gd name="T81" fmla="*/ 4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4" h="101">
                  <a:moveTo>
                    <a:pt x="84" y="51"/>
                  </a:moveTo>
                  <a:cubicBezTo>
                    <a:pt x="84" y="52"/>
                    <a:pt x="84" y="54"/>
                    <a:pt x="84" y="55"/>
                  </a:cubicBezTo>
                  <a:cubicBezTo>
                    <a:pt x="84" y="57"/>
                    <a:pt x="84" y="58"/>
                    <a:pt x="84" y="59"/>
                  </a:cubicBezTo>
                  <a:cubicBezTo>
                    <a:pt x="26" y="59"/>
                    <a:pt x="26" y="59"/>
                    <a:pt x="26" y="59"/>
                  </a:cubicBezTo>
                  <a:cubicBezTo>
                    <a:pt x="26" y="62"/>
                    <a:pt x="27" y="65"/>
                    <a:pt x="28" y="67"/>
                  </a:cubicBezTo>
                  <a:cubicBezTo>
                    <a:pt x="29" y="70"/>
                    <a:pt x="31" y="71"/>
                    <a:pt x="32" y="73"/>
                  </a:cubicBezTo>
                  <a:cubicBezTo>
                    <a:pt x="34" y="74"/>
                    <a:pt x="36" y="75"/>
                    <a:pt x="39" y="76"/>
                  </a:cubicBezTo>
                  <a:cubicBezTo>
                    <a:pt x="41" y="77"/>
                    <a:pt x="43" y="77"/>
                    <a:pt x="46" y="77"/>
                  </a:cubicBezTo>
                  <a:cubicBezTo>
                    <a:pt x="47" y="77"/>
                    <a:pt x="49" y="77"/>
                    <a:pt x="50" y="77"/>
                  </a:cubicBezTo>
                  <a:cubicBezTo>
                    <a:pt x="52" y="76"/>
                    <a:pt x="54" y="76"/>
                    <a:pt x="55" y="75"/>
                  </a:cubicBezTo>
                  <a:cubicBezTo>
                    <a:pt x="57" y="75"/>
                    <a:pt x="58" y="74"/>
                    <a:pt x="59" y="73"/>
                  </a:cubicBezTo>
                  <a:cubicBezTo>
                    <a:pt x="60" y="72"/>
                    <a:pt x="61" y="71"/>
                    <a:pt x="62" y="70"/>
                  </a:cubicBezTo>
                  <a:cubicBezTo>
                    <a:pt x="80" y="85"/>
                    <a:pt x="80" y="85"/>
                    <a:pt x="80" y="85"/>
                  </a:cubicBezTo>
                  <a:cubicBezTo>
                    <a:pt x="78" y="88"/>
                    <a:pt x="76" y="90"/>
                    <a:pt x="74" y="92"/>
                  </a:cubicBezTo>
                  <a:cubicBezTo>
                    <a:pt x="71" y="94"/>
                    <a:pt x="68" y="96"/>
                    <a:pt x="65" y="97"/>
                  </a:cubicBezTo>
                  <a:cubicBezTo>
                    <a:pt x="62" y="98"/>
                    <a:pt x="59" y="99"/>
                    <a:pt x="55" y="100"/>
                  </a:cubicBezTo>
                  <a:cubicBezTo>
                    <a:pt x="52" y="101"/>
                    <a:pt x="49" y="101"/>
                    <a:pt x="46" y="101"/>
                  </a:cubicBezTo>
                  <a:cubicBezTo>
                    <a:pt x="40" y="101"/>
                    <a:pt x="35" y="101"/>
                    <a:pt x="31" y="99"/>
                  </a:cubicBezTo>
                  <a:cubicBezTo>
                    <a:pt x="27" y="98"/>
                    <a:pt x="23" y="96"/>
                    <a:pt x="20" y="94"/>
                  </a:cubicBezTo>
                  <a:cubicBezTo>
                    <a:pt x="17" y="92"/>
                    <a:pt x="14" y="89"/>
                    <a:pt x="12" y="87"/>
                  </a:cubicBezTo>
                  <a:cubicBezTo>
                    <a:pt x="9" y="84"/>
                    <a:pt x="7" y="80"/>
                    <a:pt x="5" y="77"/>
                  </a:cubicBezTo>
                  <a:cubicBezTo>
                    <a:pt x="4" y="73"/>
                    <a:pt x="2" y="69"/>
                    <a:pt x="1" y="65"/>
                  </a:cubicBezTo>
                  <a:cubicBezTo>
                    <a:pt x="0" y="61"/>
                    <a:pt x="0" y="56"/>
                    <a:pt x="0" y="51"/>
                  </a:cubicBezTo>
                  <a:cubicBezTo>
                    <a:pt x="0" y="43"/>
                    <a:pt x="1" y="36"/>
                    <a:pt x="3" y="30"/>
                  </a:cubicBezTo>
                  <a:cubicBezTo>
                    <a:pt x="5" y="24"/>
                    <a:pt x="8" y="19"/>
                    <a:pt x="12" y="14"/>
                  </a:cubicBezTo>
                  <a:cubicBezTo>
                    <a:pt x="16" y="10"/>
                    <a:pt x="21" y="6"/>
                    <a:pt x="26" y="4"/>
                  </a:cubicBezTo>
                  <a:cubicBezTo>
                    <a:pt x="31" y="1"/>
                    <a:pt x="37" y="0"/>
                    <a:pt x="43" y="0"/>
                  </a:cubicBezTo>
                  <a:cubicBezTo>
                    <a:pt x="50" y="0"/>
                    <a:pt x="55" y="1"/>
                    <a:pt x="61" y="4"/>
                  </a:cubicBezTo>
                  <a:cubicBezTo>
                    <a:pt x="66" y="7"/>
                    <a:pt x="70" y="10"/>
                    <a:pt x="73" y="15"/>
                  </a:cubicBezTo>
                  <a:cubicBezTo>
                    <a:pt x="77" y="19"/>
                    <a:pt x="79" y="25"/>
                    <a:pt x="81" y="31"/>
                  </a:cubicBezTo>
                  <a:cubicBezTo>
                    <a:pt x="83" y="37"/>
                    <a:pt x="84" y="44"/>
                    <a:pt x="84" y="51"/>
                  </a:cubicBezTo>
                  <a:close/>
                  <a:moveTo>
                    <a:pt x="59" y="40"/>
                  </a:moveTo>
                  <a:cubicBezTo>
                    <a:pt x="59" y="37"/>
                    <a:pt x="59" y="35"/>
                    <a:pt x="58" y="33"/>
                  </a:cubicBezTo>
                  <a:cubicBezTo>
                    <a:pt x="57" y="31"/>
                    <a:pt x="56" y="29"/>
                    <a:pt x="55" y="28"/>
                  </a:cubicBezTo>
                  <a:cubicBezTo>
                    <a:pt x="53" y="26"/>
                    <a:pt x="51" y="25"/>
                    <a:pt x="49" y="24"/>
                  </a:cubicBezTo>
                  <a:cubicBezTo>
                    <a:pt x="47" y="23"/>
                    <a:pt x="45" y="22"/>
                    <a:pt x="42" y="22"/>
                  </a:cubicBezTo>
                  <a:cubicBezTo>
                    <a:pt x="40" y="22"/>
                    <a:pt x="37" y="23"/>
                    <a:pt x="36" y="24"/>
                  </a:cubicBezTo>
                  <a:cubicBezTo>
                    <a:pt x="34" y="24"/>
                    <a:pt x="32" y="26"/>
                    <a:pt x="31" y="27"/>
                  </a:cubicBezTo>
                  <a:cubicBezTo>
                    <a:pt x="29" y="29"/>
                    <a:pt x="28" y="31"/>
                    <a:pt x="28" y="33"/>
                  </a:cubicBezTo>
                  <a:cubicBezTo>
                    <a:pt x="27" y="35"/>
                    <a:pt x="26" y="37"/>
                    <a:pt x="26" y="40"/>
                  </a:cubicBezTo>
                  <a:lnTo>
                    <a:pt x="59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91" name="Freeform 9">
              <a:extLst>
                <a:ext uri="{FF2B5EF4-FFF2-40B4-BE49-F238E27FC236}">
                  <a16:creationId xmlns:a16="http://schemas.microsoft.com/office/drawing/2014/main" id="{F4A1F26E-26EA-44D8-8D11-97229CEC2530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035106" y="1431822"/>
              <a:ext cx="57529" cy="67989"/>
            </a:xfrm>
            <a:custGeom>
              <a:avLst/>
              <a:gdLst>
                <a:gd name="T0" fmla="*/ 58 w 84"/>
                <a:gd name="T1" fmla="*/ 97 h 99"/>
                <a:gd name="T2" fmla="*/ 58 w 84"/>
                <a:gd name="T3" fmla="*/ 91 h 99"/>
                <a:gd name="T4" fmla="*/ 49 w 84"/>
                <a:gd name="T5" fmla="*/ 97 h 99"/>
                <a:gd name="T6" fmla="*/ 35 w 84"/>
                <a:gd name="T7" fmla="*/ 99 h 99"/>
                <a:gd name="T8" fmla="*/ 9 w 84"/>
                <a:gd name="T9" fmla="*/ 88 h 99"/>
                <a:gd name="T10" fmla="*/ 0 w 84"/>
                <a:gd name="T11" fmla="*/ 55 h 99"/>
                <a:gd name="T12" fmla="*/ 0 w 84"/>
                <a:gd name="T13" fmla="*/ 0 h 99"/>
                <a:gd name="T14" fmla="*/ 25 w 84"/>
                <a:gd name="T15" fmla="*/ 0 h 99"/>
                <a:gd name="T16" fmla="*/ 25 w 84"/>
                <a:gd name="T17" fmla="*/ 52 h 99"/>
                <a:gd name="T18" fmla="*/ 29 w 84"/>
                <a:gd name="T19" fmla="*/ 70 h 99"/>
                <a:gd name="T20" fmla="*/ 42 w 84"/>
                <a:gd name="T21" fmla="*/ 75 h 99"/>
                <a:gd name="T22" fmla="*/ 54 w 84"/>
                <a:gd name="T23" fmla="*/ 70 h 99"/>
                <a:gd name="T24" fmla="*/ 58 w 84"/>
                <a:gd name="T25" fmla="*/ 53 h 99"/>
                <a:gd name="T26" fmla="*/ 58 w 84"/>
                <a:gd name="T27" fmla="*/ 0 h 99"/>
                <a:gd name="T28" fmla="*/ 84 w 84"/>
                <a:gd name="T29" fmla="*/ 0 h 99"/>
                <a:gd name="T30" fmla="*/ 84 w 84"/>
                <a:gd name="T31" fmla="*/ 97 h 99"/>
                <a:gd name="T32" fmla="*/ 58 w 84"/>
                <a:gd name="T33" fmla="*/ 97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4" h="99">
                  <a:moveTo>
                    <a:pt x="58" y="97"/>
                  </a:moveTo>
                  <a:cubicBezTo>
                    <a:pt x="58" y="91"/>
                    <a:pt x="58" y="91"/>
                    <a:pt x="58" y="91"/>
                  </a:cubicBezTo>
                  <a:cubicBezTo>
                    <a:pt x="56" y="93"/>
                    <a:pt x="53" y="95"/>
                    <a:pt x="49" y="97"/>
                  </a:cubicBezTo>
                  <a:cubicBezTo>
                    <a:pt x="45" y="98"/>
                    <a:pt x="41" y="99"/>
                    <a:pt x="35" y="99"/>
                  </a:cubicBezTo>
                  <a:cubicBezTo>
                    <a:pt x="24" y="99"/>
                    <a:pt x="15" y="95"/>
                    <a:pt x="9" y="88"/>
                  </a:cubicBezTo>
                  <a:cubicBezTo>
                    <a:pt x="3" y="80"/>
                    <a:pt x="0" y="69"/>
                    <a:pt x="0" y="5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52"/>
                    <a:pt x="25" y="52"/>
                    <a:pt x="25" y="52"/>
                  </a:cubicBezTo>
                  <a:cubicBezTo>
                    <a:pt x="25" y="60"/>
                    <a:pt x="26" y="66"/>
                    <a:pt x="29" y="70"/>
                  </a:cubicBezTo>
                  <a:cubicBezTo>
                    <a:pt x="31" y="73"/>
                    <a:pt x="36" y="75"/>
                    <a:pt x="42" y="75"/>
                  </a:cubicBezTo>
                  <a:cubicBezTo>
                    <a:pt x="48" y="75"/>
                    <a:pt x="52" y="73"/>
                    <a:pt x="54" y="70"/>
                  </a:cubicBezTo>
                  <a:cubicBezTo>
                    <a:pt x="57" y="66"/>
                    <a:pt x="58" y="60"/>
                    <a:pt x="58" y="53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97"/>
                    <a:pt x="84" y="97"/>
                    <a:pt x="84" y="97"/>
                  </a:cubicBezTo>
                  <a:lnTo>
                    <a:pt x="58" y="9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92" name="Freeform 10">
              <a:extLst>
                <a:ext uri="{FF2B5EF4-FFF2-40B4-BE49-F238E27FC236}">
                  <a16:creationId xmlns:a16="http://schemas.microsoft.com/office/drawing/2014/main" id="{45C1803D-4651-4E80-B712-F3F311657C4D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104403" y="1406980"/>
              <a:ext cx="43148" cy="92832"/>
            </a:xfrm>
            <a:custGeom>
              <a:avLst/>
              <a:gdLst>
                <a:gd name="T0" fmla="*/ 62 w 65"/>
                <a:gd name="T1" fmla="*/ 131 h 137"/>
                <a:gd name="T2" fmla="*/ 53 w 65"/>
                <a:gd name="T3" fmla="*/ 135 h 137"/>
                <a:gd name="T4" fmla="*/ 42 w 65"/>
                <a:gd name="T5" fmla="*/ 137 h 137"/>
                <a:gd name="T6" fmla="*/ 31 w 65"/>
                <a:gd name="T7" fmla="*/ 135 h 137"/>
                <a:gd name="T8" fmla="*/ 23 w 65"/>
                <a:gd name="T9" fmla="*/ 129 h 137"/>
                <a:gd name="T10" fmla="*/ 18 w 65"/>
                <a:gd name="T11" fmla="*/ 120 h 137"/>
                <a:gd name="T12" fmla="*/ 16 w 65"/>
                <a:gd name="T13" fmla="*/ 108 h 137"/>
                <a:gd name="T14" fmla="*/ 16 w 65"/>
                <a:gd name="T15" fmla="*/ 62 h 137"/>
                <a:gd name="T16" fmla="*/ 0 w 65"/>
                <a:gd name="T17" fmla="*/ 62 h 137"/>
                <a:gd name="T18" fmla="*/ 0 w 65"/>
                <a:gd name="T19" fmla="*/ 38 h 137"/>
                <a:gd name="T20" fmla="*/ 16 w 65"/>
                <a:gd name="T21" fmla="*/ 38 h 137"/>
                <a:gd name="T22" fmla="*/ 16 w 65"/>
                <a:gd name="T23" fmla="*/ 13 h 137"/>
                <a:gd name="T24" fmla="*/ 42 w 65"/>
                <a:gd name="T25" fmla="*/ 0 h 137"/>
                <a:gd name="T26" fmla="*/ 42 w 65"/>
                <a:gd name="T27" fmla="*/ 38 h 137"/>
                <a:gd name="T28" fmla="*/ 65 w 65"/>
                <a:gd name="T29" fmla="*/ 38 h 137"/>
                <a:gd name="T30" fmla="*/ 65 w 65"/>
                <a:gd name="T31" fmla="*/ 62 h 137"/>
                <a:gd name="T32" fmla="*/ 42 w 65"/>
                <a:gd name="T33" fmla="*/ 62 h 137"/>
                <a:gd name="T34" fmla="*/ 42 w 65"/>
                <a:gd name="T35" fmla="*/ 101 h 137"/>
                <a:gd name="T36" fmla="*/ 42 w 65"/>
                <a:gd name="T37" fmla="*/ 107 h 137"/>
                <a:gd name="T38" fmla="*/ 44 w 65"/>
                <a:gd name="T39" fmla="*/ 110 h 137"/>
                <a:gd name="T40" fmla="*/ 47 w 65"/>
                <a:gd name="T41" fmla="*/ 112 h 137"/>
                <a:gd name="T42" fmla="*/ 51 w 65"/>
                <a:gd name="T43" fmla="*/ 113 h 137"/>
                <a:gd name="T44" fmla="*/ 58 w 65"/>
                <a:gd name="T45" fmla="*/ 111 h 137"/>
                <a:gd name="T46" fmla="*/ 65 w 65"/>
                <a:gd name="T47" fmla="*/ 105 h 137"/>
                <a:gd name="T48" fmla="*/ 62 w 65"/>
                <a:gd name="T49" fmla="*/ 131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5" h="137">
                  <a:moveTo>
                    <a:pt x="62" y="131"/>
                  </a:moveTo>
                  <a:cubicBezTo>
                    <a:pt x="60" y="133"/>
                    <a:pt x="57" y="134"/>
                    <a:pt x="53" y="135"/>
                  </a:cubicBezTo>
                  <a:cubicBezTo>
                    <a:pt x="50" y="137"/>
                    <a:pt x="46" y="137"/>
                    <a:pt x="42" y="137"/>
                  </a:cubicBezTo>
                  <a:cubicBezTo>
                    <a:pt x="38" y="137"/>
                    <a:pt x="34" y="136"/>
                    <a:pt x="31" y="135"/>
                  </a:cubicBezTo>
                  <a:cubicBezTo>
                    <a:pt x="28" y="134"/>
                    <a:pt x="25" y="132"/>
                    <a:pt x="23" y="129"/>
                  </a:cubicBezTo>
                  <a:cubicBezTo>
                    <a:pt x="21" y="126"/>
                    <a:pt x="19" y="123"/>
                    <a:pt x="18" y="120"/>
                  </a:cubicBezTo>
                  <a:cubicBezTo>
                    <a:pt x="17" y="116"/>
                    <a:pt x="16" y="112"/>
                    <a:pt x="16" y="108"/>
                  </a:cubicBezTo>
                  <a:cubicBezTo>
                    <a:pt x="16" y="62"/>
                    <a:pt x="16" y="62"/>
                    <a:pt x="16" y="62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38"/>
                    <a:pt x="42" y="38"/>
                    <a:pt x="42" y="38"/>
                  </a:cubicBezTo>
                  <a:cubicBezTo>
                    <a:pt x="65" y="38"/>
                    <a:pt x="65" y="38"/>
                    <a:pt x="65" y="38"/>
                  </a:cubicBezTo>
                  <a:cubicBezTo>
                    <a:pt x="65" y="62"/>
                    <a:pt x="65" y="62"/>
                    <a:pt x="65" y="62"/>
                  </a:cubicBezTo>
                  <a:cubicBezTo>
                    <a:pt x="42" y="62"/>
                    <a:pt x="42" y="62"/>
                    <a:pt x="42" y="62"/>
                  </a:cubicBezTo>
                  <a:cubicBezTo>
                    <a:pt x="42" y="101"/>
                    <a:pt x="42" y="101"/>
                    <a:pt x="42" y="101"/>
                  </a:cubicBezTo>
                  <a:cubicBezTo>
                    <a:pt x="42" y="103"/>
                    <a:pt x="42" y="105"/>
                    <a:pt x="42" y="107"/>
                  </a:cubicBezTo>
                  <a:cubicBezTo>
                    <a:pt x="43" y="108"/>
                    <a:pt x="43" y="110"/>
                    <a:pt x="44" y="110"/>
                  </a:cubicBezTo>
                  <a:cubicBezTo>
                    <a:pt x="45" y="111"/>
                    <a:pt x="46" y="112"/>
                    <a:pt x="47" y="112"/>
                  </a:cubicBezTo>
                  <a:cubicBezTo>
                    <a:pt x="48" y="113"/>
                    <a:pt x="49" y="113"/>
                    <a:pt x="51" y="113"/>
                  </a:cubicBezTo>
                  <a:cubicBezTo>
                    <a:pt x="53" y="113"/>
                    <a:pt x="55" y="112"/>
                    <a:pt x="58" y="111"/>
                  </a:cubicBezTo>
                  <a:cubicBezTo>
                    <a:pt x="60" y="110"/>
                    <a:pt x="62" y="108"/>
                    <a:pt x="65" y="105"/>
                  </a:cubicBezTo>
                  <a:lnTo>
                    <a:pt x="62" y="13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93" name="Freeform 11">
              <a:extLst>
                <a:ext uri="{FF2B5EF4-FFF2-40B4-BE49-F238E27FC236}">
                  <a16:creationId xmlns:a16="http://schemas.microsoft.com/office/drawing/2014/main" id="{711CC3A8-EDFC-4EAE-A2DC-ACDC3B1D9DEB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160625" y="1430515"/>
              <a:ext cx="56222" cy="69297"/>
            </a:xfrm>
            <a:custGeom>
              <a:avLst/>
              <a:gdLst>
                <a:gd name="T0" fmla="*/ 78 w 81"/>
                <a:gd name="T1" fmla="*/ 9 h 101"/>
                <a:gd name="T2" fmla="*/ 70 w 81"/>
                <a:gd name="T3" fmla="*/ 30 h 101"/>
                <a:gd name="T4" fmla="*/ 55 w 81"/>
                <a:gd name="T5" fmla="*/ 24 h 101"/>
                <a:gd name="T6" fmla="*/ 41 w 81"/>
                <a:gd name="T7" fmla="*/ 22 h 101"/>
                <a:gd name="T8" fmla="*/ 31 w 81"/>
                <a:gd name="T9" fmla="*/ 23 h 101"/>
                <a:gd name="T10" fmla="*/ 28 w 81"/>
                <a:gd name="T11" fmla="*/ 28 h 101"/>
                <a:gd name="T12" fmla="*/ 29 w 81"/>
                <a:gd name="T13" fmla="*/ 31 h 101"/>
                <a:gd name="T14" fmla="*/ 32 w 81"/>
                <a:gd name="T15" fmla="*/ 33 h 101"/>
                <a:gd name="T16" fmla="*/ 38 w 81"/>
                <a:gd name="T17" fmla="*/ 36 h 101"/>
                <a:gd name="T18" fmla="*/ 48 w 81"/>
                <a:gd name="T19" fmla="*/ 39 h 101"/>
                <a:gd name="T20" fmla="*/ 61 w 81"/>
                <a:gd name="T21" fmla="*/ 44 h 101"/>
                <a:gd name="T22" fmla="*/ 71 w 81"/>
                <a:gd name="T23" fmla="*/ 50 h 101"/>
                <a:gd name="T24" fmla="*/ 78 w 81"/>
                <a:gd name="T25" fmla="*/ 59 h 101"/>
                <a:gd name="T26" fmla="*/ 81 w 81"/>
                <a:gd name="T27" fmla="*/ 71 h 101"/>
                <a:gd name="T28" fmla="*/ 78 w 81"/>
                <a:gd name="T29" fmla="*/ 85 h 101"/>
                <a:gd name="T30" fmla="*/ 69 w 81"/>
                <a:gd name="T31" fmla="*/ 94 h 101"/>
                <a:gd name="T32" fmla="*/ 57 w 81"/>
                <a:gd name="T33" fmla="*/ 100 h 101"/>
                <a:gd name="T34" fmla="*/ 41 w 81"/>
                <a:gd name="T35" fmla="*/ 101 h 101"/>
                <a:gd name="T36" fmla="*/ 19 w 81"/>
                <a:gd name="T37" fmla="*/ 98 h 101"/>
                <a:gd name="T38" fmla="*/ 0 w 81"/>
                <a:gd name="T39" fmla="*/ 90 h 101"/>
                <a:gd name="T40" fmla="*/ 9 w 81"/>
                <a:gd name="T41" fmla="*/ 70 h 101"/>
                <a:gd name="T42" fmla="*/ 25 w 81"/>
                <a:gd name="T43" fmla="*/ 77 h 101"/>
                <a:gd name="T44" fmla="*/ 43 w 81"/>
                <a:gd name="T45" fmla="*/ 79 h 101"/>
                <a:gd name="T46" fmla="*/ 53 w 81"/>
                <a:gd name="T47" fmla="*/ 78 h 101"/>
                <a:gd name="T48" fmla="*/ 56 w 81"/>
                <a:gd name="T49" fmla="*/ 72 h 101"/>
                <a:gd name="T50" fmla="*/ 55 w 81"/>
                <a:gd name="T51" fmla="*/ 69 h 101"/>
                <a:gd name="T52" fmla="*/ 53 w 81"/>
                <a:gd name="T53" fmla="*/ 67 h 101"/>
                <a:gd name="T54" fmla="*/ 48 w 81"/>
                <a:gd name="T55" fmla="*/ 64 h 101"/>
                <a:gd name="T56" fmla="*/ 41 w 81"/>
                <a:gd name="T57" fmla="*/ 62 h 101"/>
                <a:gd name="T58" fmla="*/ 26 w 81"/>
                <a:gd name="T59" fmla="*/ 57 h 101"/>
                <a:gd name="T60" fmla="*/ 13 w 81"/>
                <a:gd name="T61" fmla="*/ 51 h 101"/>
                <a:gd name="T62" fmla="*/ 6 w 81"/>
                <a:gd name="T63" fmla="*/ 42 h 101"/>
                <a:gd name="T64" fmla="*/ 3 w 81"/>
                <a:gd name="T65" fmla="*/ 29 h 101"/>
                <a:gd name="T66" fmla="*/ 6 w 81"/>
                <a:gd name="T67" fmla="*/ 16 h 101"/>
                <a:gd name="T68" fmla="*/ 14 w 81"/>
                <a:gd name="T69" fmla="*/ 7 h 101"/>
                <a:gd name="T70" fmla="*/ 26 w 81"/>
                <a:gd name="T71" fmla="*/ 2 h 101"/>
                <a:gd name="T72" fmla="*/ 42 w 81"/>
                <a:gd name="T73" fmla="*/ 0 h 101"/>
                <a:gd name="T74" fmla="*/ 61 w 81"/>
                <a:gd name="T75" fmla="*/ 3 h 101"/>
                <a:gd name="T76" fmla="*/ 78 w 81"/>
                <a:gd name="T77" fmla="*/ 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81" h="101">
                  <a:moveTo>
                    <a:pt x="78" y="9"/>
                  </a:moveTo>
                  <a:cubicBezTo>
                    <a:pt x="70" y="30"/>
                    <a:pt x="70" y="30"/>
                    <a:pt x="70" y="30"/>
                  </a:cubicBezTo>
                  <a:cubicBezTo>
                    <a:pt x="65" y="27"/>
                    <a:pt x="60" y="25"/>
                    <a:pt x="55" y="24"/>
                  </a:cubicBezTo>
                  <a:cubicBezTo>
                    <a:pt x="50" y="22"/>
                    <a:pt x="45" y="22"/>
                    <a:pt x="41" y="22"/>
                  </a:cubicBezTo>
                  <a:cubicBezTo>
                    <a:pt x="37" y="22"/>
                    <a:pt x="34" y="22"/>
                    <a:pt x="31" y="23"/>
                  </a:cubicBezTo>
                  <a:cubicBezTo>
                    <a:pt x="29" y="24"/>
                    <a:pt x="28" y="26"/>
                    <a:pt x="28" y="28"/>
                  </a:cubicBezTo>
                  <a:cubicBezTo>
                    <a:pt x="28" y="29"/>
                    <a:pt x="29" y="30"/>
                    <a:pt x="29" y="31"/>
                  </a:cubicBezTo>
                  <a:cubicBezTo>
                    <a:pt x="29" y="32"/>
                    <a:pt x="30" y="32"/>
                    <a:pt x="32" y="33"/>
                  </a:cubicBezTo>
                  <a:cubicBezTo>
                    <a:pt x="33" y="34"/>
                    <a:pt x="35" y="35"/>
                    <a:pt x="38" y="36"/>
                  </a:cubicBezTo>
                  <a:cubicBezTo>
                    <a:pt x="41" y="37"/>
                    <a:pt x="44" y="38"/>
                    <a:pt x="48" y="39"/>
                  </a:cubicBezTo>
                  <a:cubicBezTo>
                    <a:pt x="53" y="41"/>
                    <a:pt x="57" y="42"/>
                    <a:pt x="61" y="44"/>
                  </a:cubicBezTo>
                  <a:cubicBezTo>
                    <a:pt x="65" y="46"/>
                    <a:pt x="68" y="48"/>
                    <a:pt x="71" y="50"/>
                  </a:cubicBezTo>
                  <a:cubicBezTo>
                    <a:pt x="74" y="52"/>
                    <a:pt x="76" y="55"/>
                    <a:pt x="78" y="59"/>
                  </a:cubicBezTo>
                  <a:cubicBezTo>
                    <a:pt x="80" y="62"/>
                    <a:pt x="81" y="66"/>
                    <a:pt x="81" y="71"/>
                  </a:cubicBezTo>
                  <a:cubicBezTo>
                    <a:pt x="81" y="76"/>
                    <a:pt x="80" y="81"/>
                    <a:pt x="78" y="85"/>
                  </a:cubicBezTo>
                  <a:cubicBezTo>
                    <a:pt x="76" y="89"/>
                    <a:pt x="73" y="92"/>
                    <a:pt x="69" y="94"/>
                  </a:cubicBezTo>
                  <a:cubicBezTo>
                    <a:pt x="66" y="97"/>
                    <a:pt x="61" y="98"/>
                    <a:pt x="57" y="100"/>
                  </a:cubicBezTo>
                  <a:cubicBezTo>
                    <a:pt x="52" y="101"/>
                    <a:pt x="47" y="101"/>
                    <a:pt x="41" y="101"/>
                  </a:cubicBezTo>
                  <a:cubicBezTo>
                    <a:pt x="34" y="101"/>
                    <a:pt x="26" y="100"/>
                    <a:pt x="19" y="98"/>
                  </a:cubicBezTo>
                  <a:cubicBezTo>
                    <a:pt x="12" y="96"/>
                    <a:pt x="6" y="93"/>
                    <a:pt x="0" y="90"/>
                  </a:cubicBezTo>
                  <a:cubicBezTo>
                    <a:pt x="9" y="70"/>
                    <a:pt x="9" y="70"/>
                    <a:pt x="9" y="70"/>
                  </a:cubicBezTo>
                  <a:cubicBezTo>
                    <a:pt x="14" y="73"/>
                    <a:pt x="20" y="76"/>
                    <a:pt x="25" y="77"/>
                  </a:cubicBezTo>
                  <a:cubicBezTo>
                    <a:pt x="31" y="79"/>
                    <a:pt x="36" y="79"/>
                    <a:pt x="43" y="79"/>
                  </a:cubicBezTo>
                  <a:cubicBezTo>
                    <a:pt x="47" y="79"/>
                    <a:pt x="51" y="79"/>
                    <a:pt x="53" y="78"/>
                  </a:cubicBezTo>
                  <a:cubicBezTo>
                    <a:pt x="55" y="76"/>
                    <a:pt x="56" y="75"/>
                    <a:pt x="56" y="72"/>
                  </a:cubicBezTo>
                  <a:cubicBezTo>
                    <a:pt x="56" y="71"/>
                    <a:pt x="55" y="70"/>
                    <a:pt x="55" y="69"/>
                  </a:cubicBezTo>
                  <a:cubicBezTo>
                    <a:pt x="54" y="68"/>
                    <a:pt x="54" y="67"/>
                    <a:pt x="53" y="67"/>
                  </a:cubicBezTo>
                  <a:cubicBezTo>
                    <a:pt x="51" y="66"/>
                    <a:pt x="50" y="65"/>
                    <a:pt x="48" y="64"/>
                  </a:cubicBezTo>
                  <a:cubicBezTo>
                    <a:pt x="46" y="64"/>
                    <a:pt x="44" y="63"/>
                    <a:pt x="41" y="62"/>
                  </a:cubicBezTo>
                  <a:cubicBezTo>
                    <a:pt x="36" y="60"/>
                    <a:pt x="30" y="59"/>
                    <a:pt x="26" y="57"/>
                  </a:cubicBezTo>
                  <a:cubicBezTo>
                    <a:pt x="21" y="55"/>
                    <a:pt x="17" y="53"/>
                    <a:pt x="13" y="51"/>
                  </a:cubicBezTo>
                  <a:cubicBezTo>
                    <a:pt x="10" y="48"/>
                    <a:pt x="8" y="45"/>
                    <a:pt x="6" y="42"/>
                  </a:cubicBezTo>
                  <a:cubicBezTo>
                    <a:pt x="4" y="38"/>
                    <a:pt x="3" y="34"/>
                    <a:pt x="3" y="29"/>
                  </a:cubicBezTo>
                  <a:cubicBezTo>
                    <a:pt x="3" y="24"/>
                    <a:pt x="4" y="19"/>
                    <a:pt x="6" y="16"/>
                  </a:cubicBezTo>
                  <a:cubicBezTo>
                    <a:pt x="8" y="12"/>
                    <a:pt x="10" y="9"/>
                    <a:pt x="14" y="7"/>
                  </a:cubicBezTo>
                  <a:cubicBezTo>
                    <a:pt x="17" y="4"/>
                    <a:pt x="21" y="3"/>
                    <a:pt x="26" y="2"/>
                  </a:cubicBezTo>
                  <a:cubicBezTo>
                    <a:pt x="31" y="0"/>
                    <a:pt x="36" y="0"/>
                    <a:pt x="42" y="0"/>
                  </a:cubicBezTo>
                  <a:cubicBezTo>
                    <a:pt x="48" y="0"/>
                    <a:pt x="54" y="1"/>
                    <a:pt x="61" y="3"/>
                  </a:cubicBezTo>
                  <a:cubicBezTo>
                    <a:pt x="67" y="4"/>
                    <a:pt x="73" y="7"/>
                    <a:pt x="78" y="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94" name="Freeform 12">
              <a:extLst>
                <a:ext uri="{FF2B5EF4-FFF2-40B4-BE49-F238E27FC236}">
                  <a16:creationId xmlns:a16="http://schemas.microsoft.com/office/drawing/2014/main" id="{C17A032D-DB72-46B0-B4C8-EE8C8CC504F2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226000" y="1430515"/>
              <a:ext cx="58837" cy="69297"/>
            </a:xfrm>
            <a:custGeom>
              <a:avLst/>
              <a:gdLst>
                <a:gd name="T0" fmla="*/ 85 w 85"/>
                <a:gd name="T1" fmla="*/ 80 h 101"/>
                <a:gd name="T2" fmla="*/ 77 w 85"/>
                <a:gd name="T3" fmla="*/ 88 h 101"/>
                <a:gd name="T4" fmla="*/ 69 w 85"/>
                <a:gd name="T5" fmla="*/ 95 h 101"/>
                <a:gd name="T6" fmla="*/ 58 w 85"/>
                <a:gd name="T7" fmla="*/ 100 h 101"/>
                <a:gd name="T8" fmla="*/ 45 w 85"/>
                <a:gd name="T9" fmla="*/ 101 h 101"/>
                <a:gd name="T10" fmla="*/ 27 w 85"/>
                <a:gd name="T11" fmla="*/ 98 h 101"/>
                <a:gd name="T12" fmla="*/ 13 w 85"/>
                <a:gd name="T13" fmla="*/ 87 h 101"/>
                <a:gd name="T14" fmla="*/ 3 w 85"/>
                <a:gd name="T15" fmla="*/ 71 h 101"/>
                <a:gd name="T16" fmla="*/ 0 w 85"/>
                <a:gd name="T17" fmla="*/ 51 h 101"/>
                <a:gd name="T18" fmla="*/ 3 w 85"/>
                <a:gd name="T19" fmla="*/ 30 h 101"/>
                <a:gd name="T20" fmla="*/ 13 w 85"/>
                <a:gd name="T21" fmla="*/ 14 h 101"/>
                <a:gd name="T22" fmla="*/ 28 w 85"/>
                <a:gd name="T23" fmla="*/ 4 h 101"/>
                <a:gd name="T24" fmla="*/ 46 w 85"/>
                <a:gd name="T25" fmla="*/ 0 h 101"/>
                <a:gd name="T26" fmla="*/ 68 w 85"/>
                <a:gd name="T27" fmla="*/ 5 h 101"/>
                <a:gd name="T28" fmla="*/ 85 w 85"/>
                <a:gd name="T29" fmla="*/ 21 h 101"/>
                <a:gd name="T30" fmla="*/ 68 w 85"/>
                <a:gd name="T31" fmla="*/ 38 h 101"/>
                <a:gd name="T32" fmla="*/ 63 w 85"/>
                <a:gd name="T33" fmla="*/ 33 h 101"/>
                <a:gd name="T34" fmla="*/ 58 w 85"/>
                <a:gd name="T35" fmla="*/ 28 h 101"/>
                <a:gd name="T36" fmla="*/ 53 w 85"/>
                <a:gd name="T37" fmla="*/ 26 h 101"/>
                <a:gd name="T38" fmla="*/ 46 w 85"/>
                <a:gd name="T39" fmla="*/ 25 h 101"/>
                <a:gd name="T40" fmla="*/ 37 w 85"/>
                <a:gd name="T41" fmla="*/ 26 h 101"/>
                <a:gd name="T42" fmla="*/ 31 w 85"/>
                <a:gd name="T43" fmla="*/ 32 h 101"/>
                <a:gd name="T44" fmla="*/ 27 w 85"/>
                <a:gd name="T45" fmla="*/ 40 h 101"/>
                <a:gd name="T46" fmla="*/ 26 w 85"/>
                <a:gd name="T47" fmla="*/ 51 h 101"/>
                <a:gd name="T48" fmla="*/ 27 w 85"/>
                <a:gd name="T49" fmla="*/ 61 h 101"/>
                <a:gd name="T50" fmla="*/ 31 w 85"/>
                <a:gd name="T51" fmla="*/ 69 h 101"/>
                <a:gd name="T52" fmla="*/ 37 w 85"/>
                <a:gd name="T53" fmla="*/ 75 h 101"/>
                <a:gd name="T54" fmla="*/ 46 w 85"/>
                <a:gd name="T55" fmla="*/ 77 h 101"/>
                <a:gd name="T56" fmla="*/ 52 w 85"/>
                <a:gd name="T57" fmla="*/ 76 h 101"/>
                <a:gd name="T58" fmla="*/ 58 w 85"/>
                <a:gd name="T59" fmla="*/ 73 h 101"/>
                <a:gd name="T60" fmla="*/ 64 w 85"/>
                <a:gd name="T61" fmla="*/ 69 h 101"/>
                <a:gd name="T62" fmla="*/ 69 w 85"/>
                <a:gd name="T63" fmla="*/ 64 h 101"/>
                <a:gd name="T64" fmla="*/ 85 w 85"/>
                <a:gd name="T65" fmla="*/ 8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5" h="101">
                  <a:moveTo>
                    <a:pt x="85" y="80"/>
                  </a:moveTo>
                  <a:cubicBezTo>
                    <a:pt x="83" y="83"/>
                    <a:pt x="80" y="86"/>
                    <a:pt x="77" y="88"/>
                  </a:cubicBezTo>
                  <a:cubicBezTo>
                    <a:pt x="75" y="91"/>
                    <a:pt x="72" y="93"/>
                    <a:pt x="69" y="95"/>
                  </a:cubicBezTo>
                  <a:cubicBezTo>
                    <a:pt x="65" y="97"/>
                    <a:pt x="62" y="98"/>
                    <a:pt x="58" y="100"/>
                  </a:cubicBezTo>
                  <a:cubicBezTo>
                    <a:pt x="54" y="101"/>
                    <a:pt x="50" y="101"/>
                    <a:pt x="45" y="101"/>
                  </a:cubicBezTo>
                  <a:cubicBezTo>
                    <a:pt x="39" y="101"/>
                    <a:pt x="33" y="100"/>
                    <a:pt x="27" y="98"/>
                  </a:cubicBezTo>
                  <a:cubicBezTo>
                    <a:pt x="22" y="95"/>
                    <a:pt x="17" y="92"/>
                    <a:pt x="13" y="87"/>
                  </a:cubicBezTo>
                  <a:cubicBezTo>
                    <a:pt x="9" y="83"/>
                    <a:pt x="5" y="77"/>
                    <a:pt x="3" y="71"/>
                  </a:cubicBezTo>
                  <a:cubicBezTo>
                    <a:pt x="1" y="65"/>
                    <a:pt x="0" y="58"/>
                    <a:pt x="0" y="51"/>
                  </a:cubicBezTo>
                  <a:cubicBezTo>
                    <a:pt x="0" y="43"/>
                    <a:pt x="1" y="36"/>
                    <a:pt x="3" y="30"/>
                  </a:cubicBezTo>
                  <a:cubicBezTo>
                    <a:pt x="5" y="24"/>
                    <a:pt x="9" y="19"/>
                    <a:pt x="13" y="14"/>
                  </a:cubicBezTo>
                  <a:cubicBezTo>
                    <a:pt x="17" y="10"/>
                    <a:pt x="22" y="6"/>
                    <a:pt x="28" y="4"/>
                  </a:cubicBezTo>
                  <a:cubicBezTo>
                    <a:pt x="33" y="1"/>
                    <a:pt x="39" y="0"/>
                    <a:pt x="46" y="0"/>
                  </a:cubicBezTo>
                  <a:cubicBezTo>
                    <a:pt x="54" y="0"/>
                    <a:pt x="62" y="2"/>
                    <a:pt x="68" y="5"/>
                  </a:cubicBezTo>
                  <a:cubicBezTo>
                    <a:pt x="74" y="9"/>
                    <a:pt x="80" y="14"/>
                    <a:pt x="85" y="21"/>
                  </a:cubicBezTo>
                  <a:cubicBezTo>
                    <a:pt x="68" y="38"/>
                    <a:pt x="68" y="38"/>
                    <a:pt x="68" y="38"/>
                  </a:cubicBezTo>
                  <a:cubicBezTo>
                    <a:pt x="66" y="36"/>
                    <a:pt x="65" y="35"/>
                    <a:pt x="63" y="33"/>
                  </a:cubicBezTo>
                  <a:cubicBezTo>
                    <a:pt x="62" y="31"/>
                    <a:pt x="60" y="30"/>
                    <a:pt x="58" y="28"/>
                  </a:cubicBezTo>
                  <a:cubicBezTo>
                    <a:pt x="57" y="27"/>
                    <a:pt x="55" y="26"/>
                    <a:pt x="53" y="26"/>
                  </a:cubicBezTo>
                  <a:cubicBezTo>
                    <a:pt x="51" y="25"/>
                    <a:pt x="48" y="25"/>
                    <a:pt x="46" y="25"/>
                  </a:cubicBezTo>
                  <a:cubicBezTo>
                    <a:pt x="43" y="25"/>
                    <a:pt x="40" y="25"/>
                    <a:pt x="37" y="26"/>
                  </a:cubicBezTo>
                  <a:cubicBezTo>
                    <a:pt x="35" y="28"/>
                    <a:pt x="33" y="29"/>
                    <a:pt x="31" y="32"/>
                  </a:cubicBezTo>
                  <a:cubicBezTo>
                    <a:pt x="29" y="34"/>
                    <a:pt x="28" y="37"/>
                    <a:pt x="27" y="40"/>
                  </a:cubicBezTo>
                  <a:cubicBezTo>
                    <a:pt x="26" y="43"/>
                    <a:pt x="26" y="47"/>
                    <a:pt x="26" y="51"/>
                  </a:cubicBezTo>
                  <a:cubicBezTo>
                    <a:pt x="26" y="55"/>
                    <a:pt x="26" y="58"/>
                    <a:pt x="27" y="61"/>
                  </a:cubicBezTo>
                  <a:cubicBezTo>
                    <a:pt x="28" y="64"/>
                    <a:pt x="29" y="67"/>
                    <a:pt x="31" y="69"/>
                  </a:cubicBezTo>
                  <a:cubicBezTo>
                    <a:pt x="33" y="72"/>
                    <a:pt x="35" y="73"/>
                    <a:pt x="37" y="75"/>
                  </a:cubicBezTo>
                  <a:cubicBezTo>
                    <a:pt x="40" y="76"/>
                    <a:pt x="43" y="77"/>
                    <a:pt x="46" y="77"/>
                  </a:cubicBezTo>
                  <a:cubicBezTo>
                    <a:pt x="48" y="77"/>
                    <a:pt x="50" y="76"/>
                    <a:pt x="52" y="76"/>
                  </a:cubicBezTo>
                  <a:cubicBezTo>
                    <a:pt x="55" y="75"/>
                    <a:pt x="57" y="74"/>
                    <a:pt x="58" y="73"/>
                  </a:cubicBezTo>
                  <a:cubicBezTo>
                    <a:pt x="60" y="72"/>
                    <a:pt x="62" y="71"/>
                    <a:pt x="64" y="69"/>
                  </a:cubicBezTo>
                  <a:cubicBezTo>
                    <a:pt x="65" y="68"/>
                    <a:pt x="67" y="66"/>
                    <a:pt x="69" y="64"/>
                  </a:cubicBezTo>
                  <a:lnTo>
                    <a:pt x="85" y="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95" name="Freeform 13">
              <a:extLst>
                <a:ext uri="{FF2B5EF4-FFF2-40B4-BE49-F238E27FC236}">
                  <a16:creationId xmlns:a16="http://schemas.microsoft.com/office/drawing/2014/main" id="{2280FDE2-015D-4B7A-8900-05F5FB783060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297911" y="1406980"/>
              <a:ext cx="57529" cy="91524"/>
            </a:xfrm>
            <a:custGeom>
              <a:avLst/>
              <a:gdLst>
                <a:gd name="T0" fmla="*/ 59 w 84"/>
                <a:gd name="T1" fmla="*/ 135 h 135"/>
                <a:gd name="T2" fmla="*/ 59 w 84"/>
                <a:gd name="T3" fmla="*/ 83 h 135"/>
                <a:gd name="T4" fmla="*/ 55 w 84"/>
                <a:gd name="T5" fmla="*/ 66 h 135"/>
                <a:gd name="T6" fmla="*/ 42 w 84"/>
                <a:gd name="T7" fmla="*/ 60 h 135"/>
                <a:gd name="T8" fmla="*/ 35 w 84"/>
                <a:gd name="T9" fmla="*/ 61 h 135"/>
                <a:gd name="T10" fmla="*/ 30 w 84"/>
                <a:gd name="T11" fmla="*/ 65 h 135"/>
                <a:gd name="T12" fmla="*/ 27 w 84"/>
                <a:gd name="T13" fmla="*/ 71 h 135"/>
                <a:gd name="T14" fmla="*/ 25 w 84"/>
                <a:gd name="T15" fmla="*/ 82 h 135"/>
                <a:gd name="T16" fmla="*/ 25 w 84"/>
                <a:gd name="T17" fmla="*/ 135 h 135"/>
                <a:gd name="T18" fmla="*/ 0 w 84"/>
                <a:gd name="T19" fmla="*/ 135 h 135"/>
                <a:gd name="T20" fmla="*/ 0 w 84"/>
                <a:gd name="T21" fmla="*/ 13 h 135"/>
                <a:gd name="T22" fmla="*/ 25 w 84"/>
                <a:gd name="T23" fmla="*/ 0 h 135"/>
                <a:gd name="T24" fmla="*/ 25 w 84"/>
                <a:gd name="T25" fmla="*/ 44 h 135"/>
                <a:gd name="T26" fmla="*/ 29 w 84"/>
                <a:gd name="T27" fmla="*/ 41 h 135"/>
                <a:gd name="T28" fmla="*/ 35 w 84"/>
                <a:gd name="T29" fmla="*/ 38 h 135"/>
                <a:gd name="T30" fmla="*/ 41 w 84"/>
                <a:gd name="T31" fmla="*/ 37 h 135"/>
                <a:gd name="T32" fmla="*/ 48 w 84"/>
                <a:gd name="T33" fmla="*/ 36 h 135"/>
                <a:gd name="T34" fmla="*/ 64 w 84"/>
                <a:gd name="T35" fmla="*/ 39 h 135"/>
                <a:gd name="T36" fmla="*/ 75 w 84"/>
                <a:gd name="T37" fmla="*/ 48 h 135"/>
                <a:gd name="T38" fmla="*/ 82 w 84"/>
                <a:gd name="T39" fmla="*/ 62 h 135"/>
                <a:gd name="T40" fmla="*/ 84 w 84"/>
                <a:gd name="T41" fmla="*/ 80 h 135"/>
                <a:gd name="T42" fmla="*/ 84 w 84"/>
                <a:gd name="T43" fmla="*/ 135 h 135"/>
                <a:gd name="T44" fmla="*/ 59 w 84"/>
                <a:gd name="T45" fmla="*/ 135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4" h="135">
                  <a:moveTo>
                    <a:pt x="59" y="135"/>
                  </a:moveTo>
                  <a:cubicBezTo>
                    <a:pt x="59" y="83"/>
                    <a:pt x="59" y="83"/>
                    <a:pt x="59" y="83"/>
                  </a:cubicBezTo>
                  <a:cubicBezTo>
                    <a:pt x="59" y="75"/>
                    <a:pt x="57" y="69"/>
                    <a:pt x="55" y="66"/>
                  </a:cubicBezTo>
                  <a:cubicBezTo>
                    <a:pt x="52" y="62"/>
                    <a:pt x="48" y="60"/>
                    <a:pt x="42" y="60"/>
                  </a:cubicBezTo>
                  <a:cubicBezTo>
                    <a:pt x="39" y="60"/>
                    <a:pt x="37" y="60"/>
                    <a:pt x="35" y="61"/>
                  </a:cubicBezTo>
                  <a:cubicBezTo>
                    <a:pt x="33" y="62"/>
                    <a:pt x="31" y="63"/>
                    <a:pt x="30" y="65"/>
                  </a:cubicBezTo>
                  <a:cubicBezTo>
                    <a:pt x="28" y="66"/>
                    <a:pt x="27" y="69"/>
                    <a:pt x="27" y="71"/>
                  </a:cubicBezTo>
                  <a:cubicBezTo>
                    <a:pt x="26" y="74"/>
                    <a:pt x="25" y="78"/>
                    <a:pt x="25" y="82"/>
                  </a:cubicBezTo>
                  <a:cubicBezTo>
                    <a:pt x="25" y="135"/>
                    <a:pt x="25" y="135"/>
                    <a:pt x="25" y="135"/>
                  </a:cubicBezTo>
                  <a:cubicBezTo>
                    <a:pt x="0" y="135"/>
                    <a:pt x="0" y="135"/>
                    <a:pt x="0" y="135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44"/>
                    <a:pt x="25" y="44"/>
                    <a:pt x="25" y="44"/>
                  </a:cubicBezTo>
                  <a:cubicBezTo>
                    <a:pt x="27" y="43"/>
                    <a:pt x="28" y="42"/>
                    <a:pt x="29" y="41"/>
                  </a:cubicBezTo>
                  <a:cubicBezTo>
                    <a:pt x="31" y="40"/>
                    <a:pt x="33" y="39"/>
                    <a:pt x="35" y="38"/>
                  </a:cubicBezTo>
                  <a:cubicBezTo>
                    <a:pt x="37" y="38"/>
                    <a:pt x="39" y="37"/>
                    <a:pt x="41" y="37"/>
                  </a:cubicBezTo>
                  <a:cubicBezTo>
                    <a:pt x="43" y="36"/>
                    <a:pt x="46" y="36"/>
                    <a:pt x="48" y="36"/>
                  </a:cubicBezTo>
                  <a:cubicBezTo>
                    <a:pt x="54" y="36"/>
                    <a:pt x="60" y="37"/>
                    <a:pt x="64" y="39"/>
                  </a:cubicBezTo>
                  <a:cubicBezTo>
                    <a:pt x="69" y="41"/>
                    <a:pt x="73" y="44"/>
                    <a:pt x="75" y="48"/>
                  </a:cubicBezTo>
                  <a:cubicBezTo>
                    <a:pt x="78" y="52"/>
                    <a:pt x="81" y="56"/>
                    <a:pt x="82" y="62"/>
                  </a:cubicBezTo>
                  <a:cubicBezTo>
                    <a:pt x="83" y="67"/>
                    <a:pt x="84" y="74"/>
                    <a:pt x="84" y="80"/>
                  </a:cubicBezTo>
                  <a:cubicBezTo>
                    <a:pt x="84" y="135"/>
                    <a:pt x="84" y="135"/>
                    <a:pt x="84" y="135"/>
                  </a:cubicBezTo>
                  <a:lnTo>
                    <a:pt x="59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96" name="Freeform 14">
              <a:extLst>
                <a:ext uri="{FF2B5EF4-FFF2-40B4-BE49-F238E27FC236}">
                  <a16:creationId xmlns:a16="http://schemas.microsoft.com/office/drawing/2014/main" id="{D3D1BB3D-6AD6-4BE1-893D-EBCB285005E9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372438" y="1406980"/>
              <a:ext cx="16998" cy="91524"/>
            </a:xfrm>
            <a:custGeom>
              <a:avLst/>
              <a:gdLst>
                <a:gd name="T0" fmla="*/ 0 w 13"/>
                <a:gd name="T1" fmla="*/ 70 h 70"/>
                <a:gd name="T2" fmla="*/ 0 w 13"/>
                <a:gd name="T3" fmla="*/ 6 h 70"/>
                <a:gd name="T4" fmla="*/ 13 w 13"/>
                <a:gd name="T5" fmla="*/ 0 h 70"/>
                <a:gd name="T6" fmla="*/ 13 w 13"/>
                <a:gd name="T7" fmla="*/ 70 h 70"/>
                <a:gd name="T8" fmla="*/ 0 w 13"/>
                <a:gd name="T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70">
                  <a:moveTo>
                    <a:pt x="0" y="70"/>
                  </a:moveTo>
                  <a:lnTo>
                    <a:pt x="0" y="6"/>
                  </a:lnTo>
                  <a:lnTo>
                    <a:pt x="13" y="0"/>
                  </a:lnTo>
                  <a:lnTo>
                    <a:pt x="13" y="70"/>
                  </a:lnTo>
                  <a:lnTo>
                    <a:pt x="0" y="7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97" name="Freeform 15">
              <a:extLst>
                <a:ext uri="{FF2B5EF4-FFF2-40B4-BE49-F238E27FC236}">
                  <a16:creationId xmlns:a16="http://schemas.microsoft.com/office/drawing/2014/main" id="{98B7DF92-85DC-454B-9A4B-F9A35E6A3C3A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10403818" y="1430515"/>
              <a:ext cx="57529" cy="69297"/>
            </a:xfrm>
            <a:custGeom>
              <a:avLst/>
              <a:gdLst>
                <a:gd name="T0" fmla="*/ 58 w 83"/>
                <a:gd name="T1" fmla="*/ 99 h 101"/>
                <a:gd name="T2" fmla="*/ 58 w 83"/>
                <a:gd name="T3" fmla="*/ 93 h 101"/>
                <a:gd name="T4" fmla="*/ 54 w 83"/>
                <a:gd name="T5" fmla="*/ 96 h 101"/>
                <a:gd name="T6" fmla="*/ 49 w 83"/>
                <a:gd name="T7" fmla="*/ 99 h 101"/>
                <a:gd name="T8" fmla="*/ 42 w 83"/>
                <a:gd name="T9" fmla="*/ 101 h 101"/>
                <a:gd name="T10" fmla="*/ 36 w 83"/>
                <a:gd name="T11" fmla="*/ 101 h 101"/>
                <a:gd name="T12" fmla="*/ 23 w 83"/>
                <a:gd name="T13" fmla="*/ 99 h 101"/>
                <a:gd name="T14" fmla="*/ 11 w 83"/>
                <a:gd name="T15" fmla="*/ 93 h 101"/>
                <a:gd name="T16" fmla="*/ 3 w 83"/>
                <a:gd name="T17" fmla="*/ 82 h 101"/>
                <a:gd name="T18" fmla="*/ 0 w 83"/>
                <a:gd name="T19" fmla="*/ 67 h 101"/>
                <a:gd name="T20" fmla="*/ 3 w 83"/>
                <a:gd name="T21" fmla="*/ 53 h 101"/>
                <a:gd name="T22" fmla="*/ 11 w 83"/>
                <a:gd name="T23" fmla="*/ 42 h 101"/>
                <a:gd name="T24" fmla="*/ 24 w 83"/>
                <a:gd name="T25" fmla="*/ 36 h 101"/>
                <a:gd name="T26" fmla="*/ 39 w 83"/>
                <a:gd name="T27" fmla="*/ 34 h 101"/>
                <a:gd name="T28" fmla="*/ 50 w 83"/>
                <a:gd name="T29" fmla="*/ 36 h 101"/>
                <a:gd name="T30" fmla="*/ 58 w 83"/>
                <a:gd name="T31" fmla="*/ 38 h 101"/>
                <a:gd name="T32" fmla="*/ 58 w 83"/>
                <a:gd name="T33" fmla="*/ 33 h 101"/>
                <a:gd name="T34" fmla="*/ 54 w 83"/>
                <a:gd name="T35" fmla="*/ 25 h 101"/>
                <a:gd name="T36" fmla="*/ 44 w 83"/>
                <a:gd name="T37" fmla="*/ 21 h 101"/>
                <a:gd name="T38" fmla="*/ 30 w 83"/>
                <a:gd name="T39" fmla="*/ 22 h 101"/>
                <a:gd name="T40" fmla="*/ 17 w 83"/>
                <a:gd name="T41" fmla="*/ 27 h 101"/>
                <a:gd name="T42" fmla="*/ 7 w 83"/>
                <a:gd name="T43" fmla="*/ 10 h 101"/>
                <a:gd name="T44" fmla="*/ 25 w 83"/>
                <a:gd name="T45" fmla="*/ 2 h 101"/>
                <a:gd name="T46" fmla="*/ 44 w 83"/>
                <a:gd name="T47" fmla="*/ 0 h 101"/>
                <a:gd name="T48" fmla="*/ 60 w 83"/>
                <a:gd name="T49" fmla="*/ 2 h 101"/>
                <a:gd name="T50" fmla="*/ 72 w 83"/>
                <a:gd name="T51" fmla="*/ 9 h 101"/>
                <a:gd name="T52" fmla="*/ 80 w 83"/>
                <a:gd name="T53" fmla="*/ 19 h 101"/>
                <a:gd name="T54" fmla="*/ 83 w 83"/>
                <a:gd name="T55" fmla="*/ 34 h 101"/>
                <a:gd name="T56" fmla="*/ 83 w 83"/>
                <a:gd name="T57" fmla="*/ 99 h 101"/>
                <a:gd name="T58" fmla="*/ 58 w 83"/>
                <a:gd name="T59" fmla="*/ 99 h 101"/>
                <a:gd name="T60" fmla="*/ 58 w 83"/>
                <a:gd name="T61" fmla="*/ 58 h 101"/>
                <a:gd name="T62" fmla="*/ 54 w 83"/>
                <a:gd name="T63" fmla="*/ 57 h 101"/>
                <a:gd name="T64" fmla="*/ 51 w 83"/>
                <a:gd name="T65" fmla="*/ 55 h 101"/>
                <a:gd name="T66" fmla="*/ 46 w 83"/>
                <a:gd name="T67" fmla="*/ 55 h 101"/>
                <a:gd name="T68" fmla="*/ 40 w 83"/>
                <a:gd name="T69" fmla="*/ 54 h 101"/>
                <a:gd name="T70" fmla="*/ 29 w 83"/>
                <a:gd name="T71" fmla="*/ 58 h 101"/>
                <a:gd name="T72" fmla="*/ 25 w 83"/>
                <a:gd name="T73" fmla="*/ 67 h 101"/>
                <a:gd name="T74" fmla="*/ 26 w 83"/>
                <a:gd name="T75" fmla="*/ 71 h 101"/>
                <a:gd name="T76" fmla="*/ 28 w 83"/>
                <a:gd name="T77" fmla="*/ 76 h 101"/>
                <a:gd name="T78" fmla="*/ 33 w 83"/>
                <a:gd name="T79" fmla="*/ 78 h 101"/>
                <a:gd name="T80" fmla="*/ 40 w 83"/>
                <a:gd name="T81" fmla="*/ 80 h 101"/>
                <a:gd name="T82" fmla="*/ 46 w 83"/>
                <a:gd name="T83" fmla="*/ 79 h 101"/>
                <a:gd name="T84" fmla="*/ 51 w 83"/>
                <a:gd name="T85" fmla="*/ 77 h 101"/>
                <a:gd name="T86" fmla="*/ 55 w 83"/>
                <a:gd name="T87" fmla="*/ 74 h 101"/>
                <a:gd name="T88" fmla="*/ 58 w 83"/>
                <a:gd name="T89" fmla="*/ 71 h 101"/>
                <a:gd name="T90" fmla="*/ 58 w 83"/>
                <a:gd name="T91" fmla="*/ 5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83" h="101">
                  <a:moveTo>
                    <a:pt x="58" y="99"/>
                  </a:moveTo>
                  <a:cubicBezTo>
                    <a:pt x="58" y="93"/>
                    <a:pt x="58" y="93"/>
                    <a:pt x="58" y="93"/>
                  </a:cubicBezTo>
                  <a:cubicBezTo>
                    <a:pt x="57" y="94"/>
                    <a:pt x="55" y="95"/>
                    <a:pt x="54" y="96"/>
                  </a:cubicBezTo>
                  <a:cubicBezTo>
                    <a:pt x="52" y="97"/>
                    <a:pt x="51" y="98"/>
                    <a:pt x="49" y="99"/>
                  </a:cubicBezTo>
                  <a:cubicBezTo>
                    <a:pt x="47" y="100"/>
                    <a:pt x="44" y="100"/>
                    <a:pt x="42" y="101"/>
                  </a:cubicBezTo>
                  <a:cubicBezTo>
                    <a:pt x="40" y="101"/>
                    <a:pt x="38" y="101"/>
                    <a:pt x="36" y="101"/>
                  </a:cubicBezTo>
                  <a:cubicBezTo>
                    <a:pt x="31" y="101"/>
                    <a:pt x="27" y="100"/>
                    <a:pt x="23" y="99"/>
                  </a:cubicBezTo>
                  <a:cubicBezTo>
                    <a:pt x="18" y="98"/>
                    <a:pt x="14" y="96"/>
                    <a:pt x="11" y="93"/>
                  </a:cubicBezTo>
                  <a:cubicBezTo>
                    <a:pt x="8" y="90"/>
                    <a:pt x="5" y="86"/>
                    <a:pt x="3" y="82"/>
                  </a:cubicBezTo>
                  <a:cubicBezTo>
                    <a:pt x="1" y="78"/>
                    <a:pt x="0" y="73"/>
                    <a:pt x="0" y="67"/>
                  </a:cubicBezTo>
                  <a:cubicBezTo>
                    <a:pt x="0" y="61"/>
                    <a:pt x="1" y="57"/>
                    <a:pt x="3" y="53"/>
                  </a:cubicBezTo>
                  <a:cubicBezTo>
                    <a:pt x="5" y="48"/>
                    <a:pt x="8" y="45"/>
                    <a:pt x="11" y="42"/>
                  </a:cubicBezTo>
                  <a:cubicBezTo>
                    <a:pt x="15" y="40"/>
                    <a:pt x="19" y="38"/>
                    <a:pt x="24" y="36"/>
                  </a:cubicBezTo>
                  <a:cubicBezTo>
                    <a:pt x="28" y="35"/>
                    <a:pt x="33" y="34"/>
                    <a:pt x="39" y="34"/>
                  </a:cubicBezTo>
                  <a:cubicBezTo>
                    <a:pt x="43" y="34"/>
                    <a:pt x="47" y="35"/>
                    <a:pt x="50" y="36"/>
                  </a:cubicBezTo>
                  <a:cubicBezTo>
                    <a:pt x="53" y="36"/>
                    <a:pt x="56" y="37"/>
                    <a:pt x="58" y="38"/>
                  </a:cubicBezTo>
                  <a:cubicBezTo>
                    <a:pt x="58" y="33"/>
                    <a:pt x="58" y="33"/>
                    <a:pt x="58" y="33"/>
                  </a:cubicBezTo>
                  <a:cubicBezTo>
                    <a:pt x="58" y="30"/>
                    <a:pt x="56" y="27"/>
                    <a:pt x="54" y="25"/>
                  </a:cubicBezTo>
                  <a:cubicBezTo>
                    <a:pt x="52" y="22"/>
                    <a:pt x="48" y="21"/>
                    <a:pt x="44" y="21"/>
                  </a:cubicBezTo>
                  <a:cubicBezTo>
                    <a:pt x="38" y="21"/>
                    <a:pt x="33" y="21"/>
                    <a:pt x="30" y="22"/>
                  </a:cubicBezTo>
                  <a:cubicBezTo>
                    <a:pt x="26" y="23"/>
                    <a:pt x="22" y="25"/>
                    <a:pt x="17" y="27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14" y="6"/>
                    <a:pt x="19" y="4"/>
                    <a:pt x="25" y="2"/>
                  </a:cubicBezTo>
                  <a:cubicBezTo>
                    <a:pt x="30" y="1"/>
                    <a:pt x="37" y="0"/>
                    <a:pt x="44" y="0"/>
                  </a:cubicBezTo>
                  <a:cubicBezTo>
                    <a:pt x="50" y="0"/>
                    <a:pt x="55" y="1"/>
                    <a:pt x="60" y="2"/>
                  </a:cubicBezTo>
                  <a:cubicBezTo>
                    <a:pt x="65" y="4"/>
                    <a:pt x="69" y="6"/>
                    <a:pt x="72" y="9"/>
                  </a:cubicBezTo>
                  <a:cubicBezTo>
                    <a:pt x="76" y="12"/>
                    <a:pt x="79" y="15"/>
                    <a:pt x="80" y="19"/>
                  </a:cubicBezTo>
                  <a:cubicBezTo>
                    <a:pt x="82" y="24"/>
                    <a:pt x="83" y="29"/>
                    <a:pt x="83" y="34"/>
                  </a:cubicBezTo>
                  <a:cubicBezTo>
                    <a:pt x="83" y="99"/>
                    <a:pt x="83" y="99"/>
                    <a:pt x="83" y="99"/>
                  </a:cubicBezTo>
                  <a:lnTo>
                    <a:pt x="58" y="99"/>
                  </a:lnTo>
                  <a:close/>
                  <a:moveTo>
                    <a:pt x="58" y="58"/>
                  </a:moveTo>
                  <a:cubicBezTo>
                    <a:pt x="57" y="58"/>
                    <a:pt x="55" y="57"/>
                    <a:pt x="54" y="57"/>
                  </a:cubicBezTo>
                  <a:cubicBezTo>
                    <a:pt x="53" y="56"/>
                    <a:pt x="52" y="56"/>
                    <a:pt x="51" y="55"/>
                  </a:cubicBezTo>
                  <a:cubicBezTo>
                    <a:pt x="49" y="55"/>
                    <a:pt x="48" y="55"/>
                    <a:pt x="46" y="55"/>
                  </a:cubicBezTo>
                  <a:cubicBezTo>
                    <a:pt x="44" y="54"/>
                    <a:pt x="42" y="54"/>
                    <a:pt x="40" y="54"/>
                  </a:cubicBezTo>
                  <a:cubicBezTo>
                    <a:pt x="35" y="54"/>
                    <a:pt x="31" y="55"/>
                    <a:pt x="29" y="58"/>
                  </a:cubicBezTo>
                  <a:cubicBezTo>
                    <a:pt x="26" y="60"/>
                    <a:pt x="25" y="63"/>
                    <a:pt x="25" y="67"/>
                  </a:cubicBezTo>
                  <a:cubicBezTo>
                    <a:pt x="25" y="68"/>
                    <a:pt x="25" y="70"/>
                    <a:pt x="26" y="71"/>
                  </a:cubicBezTo>
                  <a:cubicBezTo>
                    <a:pt x="26" y="73"/>
                    <a:pt x="27" y="74"/>
                    <a:pt x="28" y="76"/>
                  </a:cubicBezTo>
                  <a:cubicBezTo>
                    <a:pt x="30" y="77"/>
                    <a:pt x="31" y="78"/>
                    <a:pt x="33" y="78"/>
                  </a:cubicBezTo>
                  <a:cubicBezTo>
                    <a:pt x="35" y="79"/>
                    <a:pt x="37" y="80"/>
                    <a:pt x="40" y="80"/>
                  </a:cubicBezTo>
                  <a:cubicBezTo>
                    <a:pt x="42" y="80"/>
                    <a:pt x="44" y="79"/>
                    <a:pt x="46" y="79"/>
                  </a:cubicBezTo>
                  <a:cubicBezTo>
                    <a:pt x="48" y="78"/>
                    <a:pt x="49" y="78"/>
                    <a:pt x="51" y="77"/>
                  </a:cubicBezTo>
                  <a:cubicBezTo>
                    <a:pt x="52" y="76"/>
                    <a:pt x="54" y="75"/>
                    <a:pt x="55" y="74"/>
                  </a:cubicBezTo>
                  <a:cubicBezTo>
                    <a:pt x="56" y="73"/>
                    <a:pt x="57" y="72"/>
                    <a:pt x="58" y="71"/>
                  </a:cubicBezTo>
                  <a:lnTo>
                    <a:pt x="58" y="5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98" name="Freeform 16">
              <a:extLst>
                <a:ext uri="{FF2B5EF4-FFF2-40B4-BE49-F238E27FC236}">
                  <a16:creationId xmlns:a16="http://schemas.microsoft.com/office/drawing/2014/main" id="{42944BA6-F9C0-48FA-B96D-E1DF6E30FA74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477037" y="1430515"/>
              <a:ext cx="57529" cy="67989"/>
            </a:xfrm>
            <a:custGeom>
              <a:avLst/>
              <a:gdLst>
                <a:gd name="T0" fmla="*/ 59 w 84"/>
                <a:gd name="T1" fmla="*/ 99 h 99"/>
                <a:gd name="T2" fmla="*/ 59 w 84"/>
                <a:gd name="T3" fmla="*/ 47 h 99"/>
                <a:gd name="T4" fmla="*/ 55 w 84"/>
                <a:gd name="T5" fmla="*/ 30 h 99"/>
                <a:gd name="T6" fmla="*/ 42 w 84"/>
                <a:gd name="T7" fmla="*/ 24 h 99"/>
                <a:gd name="T8" fmla="*/ 35 w 84"/>
                <a:gd name="T9" fmla="*/ 25 h 99"/>
                <a:gd name="T10" fmla="*/ 30 w 84"/>
                <a:gd name="T11" fmla="*/ 29 h 99"/>
                <a:gd name="T12" fmla="*/ 27 w 84"/>
                <a:gd name="T13" fmla="*/ 35 h 99"/>
                <a:gd name="T14" fmla="*/ 26 w 84"/>
                <a:gd name="T15" fmla="*/ 46 h 99"/>
                <a:gd name="T16" fmla="*/ 26 w 84"/>
                <a:gd name="T17" fmla="*/ 99 h 99"/>
                <a:gd name="T18" fmla="*/ 0 w 84"/>
                <a:gd name="T19" fmla="*/ 99 h 99"/>
                <a:gd name="T20" fmla="*/ 0 w 84"/>
                <a:gd name="T21" fmla="*/ 2 h 99"/>
                <a:gd name="T22" fmla="*/ 26 w 84"/>
                <a:gd name="T23" fmla="*/ 2 h 99"/>
                <a:gd name="T24" fmla="*/ 26 w 84"/>
                <a:gd name="T25" fmla="*/ 8 h 99"/>
                <a:gd name="T26" fmla="*/ 30 w 84"/>
                <a:gd name="T27" fmla="*/ 5 h 99"/>
                <a:gd name="T28" fmla="*/ 35 w 84"/>
                <a:gd name="T29" fmla="*/ 2 h 99"/>
                <a:gd name="T30" fmla="*/ 41 w 84"/>
                <a:gd name="T31" fmla="*/ 1 h 99"/>
                <a:gd name="T32" fmla="*/ 48 w 84"/>
                <a:gd name="T33" fmla="*/ 0 h 99"/>
                <a:gd name="T34" fmla="*/ 64 w 84"/>
                <a:gd name="T35" fmla="*/ 3 h 99"/>
                <a:gd name="T36" fmla="*/ 76 w 84"/>
                <a:gd name="T37" fmla="*/ 12 h 99"/>
                <a:gd name="T38" fmla="*/ 82 w 84"/>
                <a:gd name="T39" fmla="*/ 26 h 99"/>
                <a:gd name="T40" fmla="*/ 84 w 84"/>
                <a:gd name="T41" fmla="*/ 44 h 99"/>
                <a:gd name="T42" fmla="*/ 84 w 84"/>
                <a:gd name="T43" fmla="*/ 99 h 99"/>
                <a:gd name="T44" fmla="*/ 59 w 84"/>
                <a:gd name="T45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4" h="99">
                  <a:moveTo>
                    <a:pt x="59" y="99"/>
                  </a:moveTo>
                  <a:cubicBezTo>
                    <a:pt x="59" y="47"/>
                    <a:pt x="59" y="47"/>
                    <a:pt x="59" y="47"/>
                  </a:cubicBezTo>
                  <a:cubicBezTo>
                    <a:pt x="59" y="39"/>
                    <a:pt x="58" y="33"/>
                    <a:pt x="55" y="30"/>
                  </a:cubicBezTo>
                  <a:cubicBezTo>
                    <a:pt x="53" y="26"/>
                    <a:pt x="48" y="24"/>
                    <a:pt x="42" y="24"/>
                  </a:cubicBezTo>
                  <a:cubicBezTo>
                    <a:pt x="40" y="24"/>
                    <a:pt x="37" y="24"/>
                    <a:pt x="35" y="25"/>
                  </a:cubicBezTo>
                  <a:cubicBezTo>
                    <a:pt x="33" y="26"/>
                    <a:pt x="31" y="27"/>
                    <a:pt x="30" y="29"/>
                  </a:cubicBezTo>
                  <a:cubicBezTo>
                    <a:pt x="29" y="30"/>
                    <a:pt x="28" y="33"/>
                    <a:pt x="27" y="35"/>
                  </a:cubicBezTo>
                  <a:cubicBezTo>
                    <a:pt x="26" y="38"/>
                    <a:pt x="26" y="42"/>
                    <a:pt x="26" y="46"/>
                  </a:cubicBezTo>
                  <a:cubicBezTo>
                    <a:pt x="26" y="99"/>
                    <a:pt x="26" y="99"/>
                    <a:pt x="26" y="99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7" y="7"/>
                    <a:pt x="28" y="6"/>
                    <a:pt x="30" y="5"/>
                  </a:cubicBezTo>
                  <a:cubicBezTo>
                    <a:pt x="31" y="4"/>
                    <a:pt x="33" y="3"/>
                    <a:pt x="35" y="2"/>
                  </a:cubicBezTo>
                  <a:cubicBezTo>
                    <a:pt x="37" y="2"/>
                    <a:pt x="39" y="1"/>
                    <a:pt x="41" y="1"/>
                  </a:cubicBezTo>
                  <a:cubicBezTo>
                    <a:pt x="44" y="0"/>
                    <a:pt x="46" y="0"/>
                    <a:pt x="48" y="0"/>
                  </a:cubicBezTo>
                  <a:cubicBezTo>
                    <a:pt x="55" y="0"/>
                    <a:pt x="60" y="1"/>
                    <a:pt x="64" y="3"/>
                  </a:cubicBezTo>
                  <a:cubicBezTo>
                    <a:pt x="69" y="5"/>
                    <a:pt x="73" y="8"/>
                    <a:pt x="76" y="12"/>
                  </a:cubicBezTo>
                  <a:cubicBezTo>
                    <a:pt x="79" y="16"/>
                    <a:pt x="81" y="20"/>
                    <a:pt x="82" y="26"/>
                  </a:cubicBezTo>
                  <a:cubicBezTo>
                    <a:pt x="84" y="31"/>
                    <a:pt x="84" y="38"/>
                    <a:pt x="84" y="44"/>
                  </a:cubicBezTo>
                  <a:cubicBezTo>
                    <a:pt x="84" y="99"/>
                    <a:pt x="84" y="99"/>
                    <a:pt x="84" y="99"/>
                  </a:cubicBezTo>
                  <a:lnTo>
                    <a:pt x="59" y="9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99" name="Freeform 17">
              <a:extLst>
                <a:ext uri="{FF2B5EF4-FFF2-40B4-BE49-F238E27FC236}">
                  <a16:creationId xmlns:a16="http://schemas.microsoft.com/office/drawing/2014/main" id="{AD76CDEE-75C6-43F6-B367-6EF14BC3B7FE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10547642" y="1406980"/>
              <a:ext cx="57529" cy="92832"/>
            </a:xfrm>
            <a:custGeom>
              <a:avLst/>
              <a:gdLst>
                <a:gd name="T0" fmla="*/ 58 w 84"/>
                <a:gd name="T1" fmla="*/ 135 h 137"/>
                <a:gd name="T2" fmla="*/ 58 w 84"/>
                <a:gd name="T3" fmla="*/ 129 h 137"/>
                <a:gd name="T4" fmla="*/ 55 w 84"/>
                <a:gd name="T5" fmla="*/ 132 h 137"/>
                <a:gd name="T6" fmla="*/ 50 w 84"/>
                <a:gd name="T7" fmla="*/ 135 h 137"/>
                <a:gd name="T8" fmla="*/ 45 w 84"/>
                <a:gd name="T9" fmla="*/ 137 h 137"/>
                <a:gd name="T10" fmla="*/ 38 w 84"/>
                <a:gd name="T11" fmla="*/ 137 h 137"/>
                <a:gd name="T12" fmla="*/ 23 w 84"/>
                <a:gd name="T13" fmla="*/ 134 h 137"/>
                <a:gd name="T14" fmla="*/ 11 w 84"/>
                <a:gd name="T15" fmla="*/ 125 h 137"/>
                <a:gd name="T16" fmla="*/ 3 w 84"/>
                <a:gd name="T17" fmla="*/ 109 h 137"/>
                <a:gd name="T18" fmla="*/ 0 w 84"/>
                <a:gd name="T19" fmla="*/ 85 h 137"/>
                <a:gd name="T20" fmla="*/ 3 w 84"/>
                <a:gd name="T21" fmla="*/ 65 h 137"/>
                <a:gd name="T22" fmla="*/ 10 w 84"/>
                <a:gd name="T23" fmla="*/ 50 h 137"/>
                <a:gd name="T24" fmla="*/ 22 w 84"/>
                <a:gd name="T25" fmla="*/ 40 h 137"/>
                <a:gd name="T26" fmla="*/ 38 w 84"/>
                <a:gd name="T27" fmla="*/ 36 h 137"/>
                <a:gd name="T28" fmla="*/ 44 w 84"/>
                <a:gd name="T29" fmla="*/ 36 h 137"/>
                <a:gd name="T30" fmla="*/ 50 w 84"/>
                <a:gd name="T31" fmla="*/ 38 h 137"/>
                <a:gd name="T32" fmla="*/ 55 w 84"/>
                <a:gd name="T33" fmla="*/ 41 h 137"/>
                <a:gd name="T34" fmla="*/ 58 w 84"/>
                <a:gd name="T35" fmla="*/ 44 h 137"/>
                <a:gd name="T36" fmla="*/ 58 w 84"/>
                <a:gd name="T37" fmla="*/ 13 h 137"/>
                <a:gd name="T38" fmla="*/ 84 w 84"/>
                <a:gd name="T39" fmla="*/ 0 h 137"/>
                <a:gd name="T40" fmla="*/ 84 w 84"/>
                <a:gd name="T41" fmla="*/ 135 h 137"/>
                <a:gd name="T42" fmla="*/ 58 w 84"/>
                <a:gd name="T43" fmla="*/ 135 h 137"/>
                <a:gd name="T44" fmla="*/ 58 w 84"/>
                <a:gd name="T45" fmla="*/ 68 h 137"/>
                <a:gd name="T46" fmla="*/ 55 w 84"/>
                <a:gd name="T47" fmla="*/ 65 h 137"/>
                <a:gd name="T48" fmla="*/ 52 w 84"/>
                <a:gd name="T49" fmla="*/ 62 h 137"/>
                <a:gd name="T50" fmla="*/ 47 w 84"/>
                <a:gd name="T51" fmla="*/ 61 h 137"/>
                <a:gd name="T52" fmla="*/ 41 w 84"/>
                <a:gd name="T53" fmla="*/ 60 h 137"/>
                <a:gd name="T54" fmla="*/ 30 w 84"/>
                <a:gd name="T55" fmla="*/ 66 h 137"/>
                <a:gd name="T56" fmla="*/ 26 w 84"/>
                <a:gd name="T57" fmla="*/ 85 h 137"/>
                <a:gd name="T58" fmla="*/ 27 w 84"/>
                <a:gd name="T59" fmla="*/ 98 h 137"/>
                <a:gd name="T60" fmla="*/ 31 w 84"/>
                <a:gd name="T61" fmla="*/ 106 h 137"/>
                <a:gd name="T62" fmla="*/ 36 w 84"/>
                <a:gd name="T63" fmla="*/ 111 h 137"/>
                <a:gd name="T64" fmla="*/ 43 w 84"/>
                <a:gd name="T65" fmla="*/ 113 h 137"/>
                <a:gd name="T66" fmla="*/ 48 w 84"/>
                <a:gd name="T67" fmla="*/ 112 h 137"/>
                <a:gd name="T68" fmla="*/ 52 w 84"/>
                <a:gd name="T69" fmla="*/ 111 h 137"/>
                <a:gd name="T70" fmla="*/ 56 w 84"/>
                <a:gd name="T71" fmla="*/ 108 h 137"/>
                <a:gd name="T72" fmla="*/ 58 w 84"/>
                <a:gd name="T73" fmla="*/ 105 h 137"/>
                <a:gd name="T74" fmla="*/ 58 w 84"/>
                <a:gd name="T75" fmla="*/ 68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4" h="137">
                  <a:moveTo>
                    <a:pt x="58" y="135"/>
                  </a:moveTo>
                  <a:cubicBezTo>
                    <a:pt x="58" y="129"/>
                    <a:pt x="58" y="129"/>
                    <a:pt x="58" y="129"/>
                  </a:cubicBezTo>
                  <a:cubicBezTo>
                    <a:pt x="57" y="130"/>
                    <a:pt x="56" y="131"/>
                    <a:pt x="55" y="132"/>
                  </a:cubicBezTo>
                  <a:cubicBezTo>
                    <a:pt x="53" y="133"/>
                    <a:pt x="52" y="134"/>
                    <a:pt x="50" y="135"/>
                  </a:cubicBezTo>
                  <a:cubicBezTo>
                    <a:pt x="48" y="136"/>
                    <a:pt x="47" y="136"/>
                    <a:pt x="45" y="137"/>
                  </a:cubicBezTo>
                  <a:cubicBezTo>
                    <a:pt x="43" y="137"/>
                    <a:pt x="40" y="137"/>
                    <a:pt x="38" y="137"/>
                  </a:cubicBezTo>
                  <a:cubicBezTo>
                    <a:pt x="33" y="137"/>
                    <a:pt x="28" y="136"/>
                    <a:pt x="23" y="134"/>
                  </a:cubicBezTo>
                  <a:cubicBezTo>
                    <a:pt x="19" y="132"/>
                    <a:pt x="15" y="129"/>
                    <a:pt x="11" y="125"/>
                  </a:cubicBezTo>
                  <a:cubicBezTo>
                    <a:pt x="8" y="121"/>
                    <a:pt x="5" y="115"/>
                    <a:pt x="3" y="109"/>
                  </a:cubicBezTo>
                  <a:cubicBezTo>
                    <a:pt x="1" y="102"/>
                    <a:pt x="0" y="94"/>
                    <a:pt x="0" y="85"/>
                  </a:cubicBezTo>
                  <a:cubicBezTo>
                    <a:pt x="0" y="78"/>
                    <a:pt x="1" y="71"/>
                    <a:pt x="3" y="65"/>
                  </a:cubicBezTo>
                  <a:cubicBezTo>
                    <a:pt x="4" y="59"/>
                    <a:pt x="7" y="54"/>
                    <a:pt x="10" y="50"/>
                  </a:cubicBezTo>
                  <a:cubicBezTo>
                    <a:pt x="13" y="45"/>
                    <a:pt x="17" y="42"/>
                    <a:pt x="22" y="40"/>
                  </a:cubicBezTo>
                  <a:cubicBezTo>
                    <a:pt x="27" y="37"/>
                    <a:pt x="32" y="36"/>
                    <a:pt x="38" y="36"/>
                  </a:cubicBezTo>
                  <a:cubicBezTo>
                    <a:pt x="40" y="36"/>
                    <a:pt x="42" y="36"/>
                    <a:pt x="44" y="36"/>
                  </a:cubicBezTo>
                  <a:cubicBezTo>
                    <a:pt x="46" y="37"/>
                    <a:pt x="48" y="37"/>
                    <a:pt x="50" y="38"/>
                  </a:cubicBezTo>
                  <a:cubicBezTo>
                    <a:pt x="52" y="39"/>
                    <a:pt x="53" y="40"/>
                    <a:pt x="55" y="41"/>
                  </a:cubicBezTo>
                  <a:cubicBezTo>
                    <a:pt x="56" y="42"/>
                    <a:pt x="57" y="42"/>
                    <a:pt x="58" y="44"/>
                  </a:cubicBezTo>
                  <a:cubicBezTo>
                    <a:pt x="58" y="13"/>
                    <a:pt x="58" y="13"/>
                    <a:pt x="58" y="13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135"/>
                    <a:pt x="84" y="135"/>
                    <a:pt x="84" y="135"/>
                  </a:cubicBezTo>
                  <a:lnTo>
                    <a:pt x="58" y="135"/>
                  </a:lnTo>
                  <a:close/>
                  <a:moveTo>
                    <a:pt x="58" y="68"/>
                  </a:moveTo>
                  <a:cubicBezTo>
                    <a:pt x="57" y="67"/>
                    <a:pt x="56" y="66"/>
                    <a:pt x="55" y="65"/>
                  </a:cubicBezTo>
                  <a:cubicBezTo>
                    <a:pt x="54" y="64"/>
                    <a:pt x="53" y="63"/>
                    <a:pt x="52" y="62"/>
                  </a:cubicBezTo>
                  <a:cubicBezTo>
                    <a:pt x="50" y="62"/>
                    <a:pt x="49" y="61"/>
                    <a:pt x="47" y="61"/>
                  </a:cubicBezTo>
                  <a:cubicBezTo>
                    <a:pt x="45" y="60"/>
                    <a:pt x="43" y="60"/>
                    <a:pt x="41" y="60"/>
                  </a:cubicBezTo>
                  <a:cubicBezTo>
                    <a:pt x="36" y="60"/>
                    <a:pt x="33" y="62"/>
                    <a:pt x="30" y="66"/>
                  </a:cubicBezTo>
                  <a:cubicBezTo>
                    <a:pt x="27" y="70"/>
                    <a:pt x="26" y="77"/>
                    <a:pt x="26" y="85"/>
                  </a:cubicBezTo>
                  <a:cubicBezTo>
                    <a:pt x="26" y="90"/>
                    <a:pt x="27" y="94"/>
                    <a:pt x="27" y="98"/>
                  </a:cubicBezTo>
                  <a:cubicBezTo>
                    <a:pt x="28" y="101"/>
                    <a:pt x="29" y="104"/>
                    <a:pt x="31" y="106"/>
                  </a:cubicBezTo>
                  <a:cubicBezTo>
                    <a:pt x="32" y="109"/>
                    <a:pt x="34" y="110"/>
                    <a:pt x="36" y="111"/>
                  </a:cubicBezTo>
                  <a:cubicBezTo>
                    <a:pt x="38" y="113"/>
                    <a:pt x="40" y="113"/>
                    <a:pt x="43" y="113"/>
                  </a:cubicBezTo>
                  <a:cubicBezTo>
                    <a:pt x="45" y="113"/>
                    <a:pt x="46" y="113"/>
                    <a:pt x="48" y="112"/>
                  </a:cubicBezTo>
                  <a:cubicBezTo>
                    <a:pt x="50" y="112"/>
                    <a:pt x="51" y="112"/>
                    <a:pt x="52" y="111"/>
                  </a:cubicBezTo>
                  <a:cubicBezTo>
                    <a:pt x="53" y="110"/>
                    <a:pt x="55" y="109"/>
                    <a:pt x="56" y="108"/>
                  </a:cubicBezTo>
                  <a:cubicBezTo>
                    <a:pt x="57" y="107"/>
                    <a:pt x="58" y="106"/>
                    <a:pt x="58" y="105"/>
                  </a:cubicBezTo>
                  <a:lnTo>
                    <a:pt x="58" y="6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00" name="Freeform 18">
              <a:extLst>
                <a:ext uri="{FF2B5EF4-FFF2-40B4-BE49-F238E27FC236}">
                  <a16:creationId xmlns:a16="http://schemas.microsoft.com/office/drawing/2014/main" id="{DACB136F-C6ED-433D-9631-749BCDC77B78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9731769" y="1406980"/>
              <a:ext cx="19613" cy="91524"/>
            </a:xfrm>
            <a:custGeom>
              <a:avLst/>
              <a:gdLst>
                <a:gd name="T0" fmla="*/ 29 w 29"/>
                <a:gd name="T1" fmla="*/ 14 h 134"/>
                <a:gd name="T2" fmla="*/ 28 w 29"/>
                <a:gd name="T3" fmla="*/ 20 h 134"/>
                <a:gd name="T4" fmla="*/ 25 w 29"/>
                <a:gd name="T5" fmla="*/ 25 h 134"/>
                <a:gd name="T6" fmla="*/ 20 w 29"/>
                <a:gd name="T7" fmla="*/ 28 h 134"/>
                <a:gd name="T8" fmla="*/ 15 w 29"/>
                <a:gd name="T9" fmla="*/ 29 h 134"/>
                <a:gd name="T10" fmla="*/ 9 w 29"/>
                <a:gd name="T11" fmla="*/ 28 h 134"/>
                <a:gd name="T12" fmla="*/ 5 w 29"/>
                <a:gd name="T13" fmla="*/ 25 h 134"/>
                <a:gd name="T14" fmla="*/ 1 w 29"/>
                <a:gd name="T15" fmla="*/ 20 h 134"/>
                <a:gd name="T16" fmla="*/ 0 w 29"/>
                <a:gd name="T17" fmla="*/ 14 h 134"/>
                <a:gd name="T18" fmla="*/ 1 w 29"/>
                <a:gd name="T19" fmla="*/ 9 h 134"/>
                <a:gd name="T20" fmla="*/ 5 w 29"/>
                <a:gd name="T21" fmla="*/ 4 h 134"/>
                <a:gd name="T22" fmla="*/ 9 w 29"/>
                <a:gd name="T23" fmla="*/ 1 h 134"/>
                <a:gd name="T24" fmla="*/ 15 w 29"/>
                <a:gd name="T25" fmla="*/ 0 h 134"/>
                <a:gd name="T26" fmla="*/ 20 w 29"/>
                <a:gd name="T27" fmla="*/ 1 h 134"/>
                <a:gd name="T28" fmla="*/ 25 w 29"/>
                <a:gd name="T29" fmla="*/ 4 h 134"/>
                <a:gd name="T30" fmla="*/ 28 w 29"/>
                <a:gd name="T31" fmla="*/ 9 h 134"/>
                <a:gd name="T32" fmla="*/ 29 w 29"/>
                <a:gd name="T33" fmla="*/ 14 h 134"/>
                <a:gd name="T34" fmla="*/ 2 w 29"/>
                <a:gd name="T35" fmla="*/ 134 h 134"/>
                <a:gd name="T36" fmla="*/ 2 w 29"/>
                <a:gd name="T37" fmla="*/ 37 h 134"/>
                <a:gd name="T38" fmla="*/ 28 w 29"/>
                <a:gd name="T39" fmla="*/ 37 h 134"/>
                <a:gd name="T40" fmla="*/ 28 w 29"/>
                <a:gd name="T41" fmla="*/ 134 h 134"/>
                <a:gd name="T42" fmla="*/ 2 w 29"/>
                <a:gd name="T43" fmla="*/ 134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9" h="134">
                  <a:moveTo>
                    <a:pt x="29" y="14"/>
                  </a:moveTo>
                  <a:cubicBezTo>
                    <a:pt x="29" y="16"/>
                    <a:pt x="29" y="18"/>
                    <a:pt x="28" y="20"/>
                  </a:cubicBezTo>
                  <a:cubicBezTo>
                    <a:pt x="28" y="22"/>
                    <a:pt x="26" y="23"/>
                    <a:pt x="25" y="25"/>
                  </a:cubicBezTo>
                  <a:cubicBezTo>
                    <a:pt x="24" y="26"/>
                    <a:pt x="22" y="27"/>
                    <a:pt x="20" y="28"/>
                  </a:cubicBezTo>
                  <a:cubicBezTo>
                    <a:pt x="19" y="29"/>
                    <a:pt x="17" y="29"/>
                    <a:pt x="15" y="29"/>
                  </a:cubicBezTo>
                  <a:cubicBezTo>
                    <a:pt x="13" y="29"/>
                    <a:pt x="11" y="29"/>
                    <a:pt x="9" y="28"/>
                  </a:cubicBezTo>
                  <a:cubicBezTo>
                    <a:pt x="7" y="27"/>
                    <a:pt x="6" y="26"/>
                    <a:pt x="5" y="25"/>
                  </a:cubicBezTo>
                  <a:cubicBezTo>
                    <a:pt x="3" y="23"/>
                    <a:pt x="2" y="22"/>
                    <a:pt x="1" y="20"/>
                  </a:cubicBezTo>
                  <a:cubicBezTo>
                    <a:pt x="1" y="18"/>
                    <a:pt x="0" y="16"/>
                    <a:pt x="0" y="14"/>
                  </a:cubicBezTo>
                  <a:cubicBezTo>
                    <a:pt x="0" y="12"/>
                    <a:pt x="1" y="11"/>
                    <a:pt x="1" y="9"/>
                  </a:cubicBezTo>
                  <a:cubicBezTo>
                    <a:pt x="2" y="7"/>
                    <a:pt x="3" y="5"/>
                    <a:pt x="5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2" y="2"/>
                    <a:pt x="24" y="3"/>
                    <a:pt x="25" y="4"/>
                  </a:cubicBezTo>
                  <a:cubicBezTo>
                    <a:pt x="26" y="5"/>
                    <a:pt x="28" y="7"/>
                    <a:pt x="28" y="9"/>
                  </a:cubicBezTo>
                  <a:cubicBezTo>
                    <a:pt x="29" y="11"/>
                    <a:pt x="29" y="12"/>
                    <a:pt x="29" y="14"/>
                  </a:cubicBezTo>
                  <a:close/>
                  <a:moveTo>
                    <a:pt x="2" y="134"/>
                  </a:moveTo>
                  <a:cubicBezTo>
                    <a:pt x="2" y="37"/>
                    <a:pt x="2" y="37"/>
                    <a:pt x="2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134"/>
                    <a:pt x="28" y="134"/>
                    <a:pt x="28" y="134"/>
                  </a:cubicBezTo>
                  <a:lnTo>
                    <a:pt x="2" y="1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01" name="Freeform 19">
              <a:extLst>
                <a:ext uri="{FF2B5EF4-FFF2-40B4-BE49-F238E27FC236}">
                  <a16:creationId xmlns:a16="http://schemas.microsoft.com/office/drawing/2014/main" id="{922FADCD-4917-47C7-ADDB-1574B3C49CA8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9767071" y="1430515"/>
              <a:ext cx="58837" cy="67989"/>
            </a:xfrm>
            <a:custGeom>
              <a:avLst/>
              <a:gdLst>
                <a:gd name="T0" fmla="*/ 59 w 85"/>
                <a:gd name="T1" fmla="*/ 99 h 99"/>
                <a:gd name="T2" fmla="*/ 59 w 85"/>
                <a:gd name="T3" fmla="*/ 47 h 99"/>
                <a:gd name="T4" fmla="*/ 55 w 85"/>
                <a:gd name="T5" fmla="*/ 30 h 99"/>
                <a:gd name="T6" fmla="*/ 43 w 85"/>
                <a:gd name="T7" fmla="*/ 24 h 99"/>
                <a:gd name="T8" fmla="*/ 35 w 85"/>
                <a:gd name="T9" fmla="*/ 25 h 99"/>
                <a:gd name="T10" fmla="*/ 30 w 85"/>
                <a:gd name="T11" fmla="*/ 29 h 99"/>
                <a:gd name="T12" fmla="*/ 27 w 85"/>
                <a:gd name="T13" fmla="*/ 35 h 99"/>
                <a:gd name="T14" fmla="*/ 26 w 85"/>
                <a:gd name="T15" fmla="*/ 46 h 99"/>
                <a:gd name="T16" fmla="*/ 26 w 85"/>
                <a:gd name="T17" fmla="*/ 99 h 99"/>
                <a:gd name="T18" fmla="*/ 0 w 85"/>
                <a:gd name="T19" fmla="*/ 99 h 99"/>
                <a:gd name="T20" fmla="*/ 0 w 85"/>
                <a:gd name="T21" fmla="*/ 2 h 99"/>
                <a:gd name="T22" fmla="*/ 26 w 85"/>
                <a:gd name="T23" fmla="*/ 2 h 99"/>
                <a:gd name="T24" fmla="*/ 26 w 85"/>
                <a:gd name="T25" fmla="*/ 8 h 99"/>
                <a:gd name="T26" fmla="*/ 30 w 85"/>
                <a:gd name="T27" fmla="*/ 5 h 99"/>
                <a:gd name="T28" fmla="*/ 35 w 85"/>
                <a:gd name="T29" fmla="*/ 2 h 99"/>
                <a:gd name="T30" fmla="*/ 42 w 85"/>
                <a:gd name="T31" fmla="*/ 1 h 99"/>
                <a:gd name="T32" fmla="*/ 49 w 85"/>
                <a:gd name="T33" fmla="*/ 0 h 99"/>
                <a:gd name="T34" fmla="*/ 65 w 85"/>
                <a:gd name="T35" fmla="*/ 3 h 99"/>
                <a:gd name="T36" fmla="*/ 76 w 85"/>
                <a:gd name="T37" fmla="*/ 12 h 99"/>
                <a:gd name="T38" fmla="*/ 82 w 85"/>
                <a:gd name="T39" fmla="*/ 26 h 99"/>
                <a:gd name="T40" fmla="*/ 85 w 85"/>
                <a:gd name="T41" fmla="*/ 44 h 99"/>
                <a:gd name="T42" fmla="*/ 85 w 85"/>
                <a:gd name="T43" fmla="*/ 99 h 99"/>
                <a:gd name="T44" fmla="*/ 59 w 85"/>
                <a:gd name="T45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5" h="99">
                  <a:moveTo>
                    <a:pt x="59" y="99"/>
                  </a:moveTo>
                  <a:cubicBezTo>
                    <a:pt x="59" y="47"/>
                    <a:pt x="59" y="47"/>
                    <a:pt x="59" y="47"/>
                  </a:cubicBezTo>
                  <a:cubicBezTo>
                    <a:pt x="59" y="39"/>
                    <a:pt x="58" y="33"/>
                    <a:pt x="55" y="30"/>
                  </a:cubicBezTo>
                  <a:cubicBezTo>
                    <a:pt x="53" y="26"/>
                    <a:pt x="49" y="24"/>
                    <a:pt x="43" y="24"/>
                  </a:cubicBezTo>
                  <a:cubicBezTo>
                    <a:pt x="40" y="24"/>
                    <a:pt x="38" y="24"/>
                    <a:pt x="35" y="25"/>
                  </a:cubicBezTo>
                  <a:cubicBezTo>
                    <a:pt x="33" y="26"/>
                    <a:pt x="32" y="27"/>
                    <a:pt x="30" y="29"/>
                  </a:cubicBezTo>
                  <a:cubicBezTo>
                    <a:pt x="29" y="30"/>
                    <a:pt x="28" y="33"/>
                    <a:pt x="27" y="35"/>
                  </a:cubicBezTo>
                  <a:cubicBezTo>
                    <a:pt x="26" y="38"/>
                    <a:pt x="26" y="42"/>
                    <a:pt x="26" y="46"/>
                  </a:cubicBezTo>
                  <a:cubicBezTo>
                    <a:pt x="26" y="99"/>
                    <a:pt x="26" y="99"/>
                    <a:pt x="26" y="99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7" y="7"/>
                    <a:pt x="28" y="6"/>
                    <a:pt x="30" y="5"/>
                  </a:cubicBezTo>
                  <a:cubicBezTo>
                    <a:pt x="31" y="4"/>
                    <a:pt x="33" y="3"/>
                    <a:pt x="35" y="2"/>
                  </a:cubicBezTo>
                  <a:cubicBezTo>
                    <a:pt x="37" y="2"/>
                    <a:pt x="39" y="1"/>
                    <a:pt x="42" y="1"/>
                  </a:cubicBezTo>
                  <a:cubicBezTo>
                    <a:pt x="44" y="0"/>
                    <a:pt x="46" y="0"/>
                    <a:pt x="49" y="0"/>
                  </a:cubicBezTo>
                  <a:cubicBezTo>
                    <a:pt x="55" y="0"/>
                    <a:pt x="60" y="1"/>
                    <a:pt x="65" y="3"/>
                  </a:cubicBezTo>
                  <a:cubicBezTo>
                    <a:pt x="69" y="5"/>
                    <a:pt x="73" y="8"/>
                    <a:pt x="76" y="12"/>
                  </a:cubicBezTo>
                  <a:cubicBezTo>
                    <a:pt x="79" y="16"/>
                    <a:pt x="81" y="20"/>
                    <a:pt x="82" y="26"/>
                  </a:cubicBezTo>
                  <a:cubicBezTo>
                    <a:pt x="84" y="31"/>
                    <a:pt x="85" y="38"/>
                    <a:pt x="85" y="44"/>
                  </a:cubicBezTo>
                  <a:cubicBezTo>
                    <a:pt x="85" y="99"/>
                    <a:pt x="85" y="99"/>
                    <a:pt x="85" y="99"/>
                  </a:cubicBezTo>
                  <a:lnTo>
                    <a:pt x="59" y="9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02" name="Freeform 20">
              <a:extLst>
                <a:ext uri="{FF2B5EF4-FFF2-40B4-BE49-F238E27FC236}">
                  <a16:creationId xmlns:a16="http://schemas.microsoft.com/office/drawing/2014/main" id="{EEA96631-7CCE-49D6-A700-D76FF986E47F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9880823" y="1410902"/>
              <a:ext cx="71912" cy="87602"/>
            </a:xfrm>
            <a:custGeom>
              <a:avLst/>
              <a:gdLst>
                <a:gd name="T0" fmla="*/ 105 w 105"/>
                <a:gd name="T1" fmla="*/ 64 h 129"/>
                <a:gd name="T2" fmla="*/ 103 w 105"/>
                <a:gd name="T3" fmla="*/ 85 h 129"/>
                <a:gd name="T4" fmla="*/ 96 w 105"/>
                <a:gd name="T5" fmla="*/ 101 h 129"/>
                <a:gd name="T6" fmla="*/ 85 w 105"/>
                <a:gd name="T7" fmla="*/ 114 h 129"/>
                <a:gd name="T8" fmla="*/ 71 w 105"/>
                <a:gd name="T9" fmla="*/ 122 h 129"/>
                <a:gd name="T10" fmla="*/ 55 w 105"/>
                <a:gd name="T11" fmla="*/ 128 h 129"/>
                <a:gd name="T12" fmla="*/ 39 w 105"/>
                <a:gd name="T13" fmla="*/ 129 h 129"/>
                <a:gd name="T14" fmla="*/ 0 w 105"/>
                <a:gd name="T15" fmla="*/ 129 h 129"/>
                <a:gd name="T16" fmla="*/ 0 w 105"/>
                <a:gd name="T17" fmla="*/ 0 h 129"/>
                <a:gd name="T18" fmla="*/ 41 w 105"/>
                <a:gd name="T19" fmla="*/ 0 h 129"/>
                <a:gd name="T20" fmla="*/ 67 w 105"/>
                <a:gd name="T21" fmla="*/ 3 h 129"/>
                <a:gd name="T22" fmla="*/ 87 w 105"/>
                <a:gd name="T23" fmla="*/ 14 h 129"/>
                <a:gd name="T24" fmla="*/ 100 w 105"/>
                <a:gd name="T25" fmla="*/ 34 h 129"/>
                <a:gd name="T26" fmla="*/ 105 w 105"/>
                <a:gd name="T27" fmla="*/ 64 h 129"/>
                <a:gd name="T28" fmla="*/ 79 w 105"/>
                <a:gd name="T29" fmla="*/ 64 h 129"/>
                <a:gd name="T30" fmla="*/ 76 w 105"/>
                <a:gd name="T31" fmla="*/ 47 h 129"/>
                <a:gd name="T32" fmla="*/ 70 w 105"/>
                <a:gd name="T33" fmla="*/ 35 h 129"/>
                <a:gd name="T34" fmla="*/ 58 w 105"/>
                <a:gd name="T35" fmla="*/ 27 h 129"/>
                <a:gd name="T36" fmla="*/ 40 w 105"/>
                <a:gd name="T37" fmla="*/ 25 h 129"/>
                <a:gd name="T38" fmla="*/ 26 w 105"/>
                <a:gd name="T39" fmla="*/ 25 h 129"/>
                <a:gd name="T40" fmla="*/ 26 w 105"/>
                <a:gd name="T41" fmla="*/ 104 h 129"/>
                <a:gd name="T42" fmla="*/ 39 w 105"/>
                <a:gd name="T43" fmla="*/ 104 h 129"/>
                <a:gd name="T44" fmla="*/ 57 w 105"/>
                <a:gd name="T45" fmla="*/ 101 h 129"/>
                <a:gd name="T46" fmla="*/ 69 w 105"/>
                <a:gd name="T47" fmla="*/ 93 h 129"/>
                <a:gd name="T48" fmla="*/ 76 w 105"/>
                <a:gd name="T49" fmla="*/ 81 h 129"/>
                <a:gd name="T50" fmla="*/ 79 w 105"/>
                <a:gd name="T51" fmla="*/ 64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5" h="129">
                  <a:moveTo>
                    <a:pt x="105" y="64"/>
                  </a:moveTo>
                  <a:cubicBezTo>
                    <a:pt x="105" y="72"/>
                    <a:pt x="104" y="79"/>
                    <a:pt x="103" y="85"/>
                  </a:cubicBezTo>
                  <a:cubicBezTo>
                    <a:pt x="101" y="91"/>
                    <a:pt x="99" y="97"/>
                    <a:pt x="96" y="101"/>
                  </a:cubicBezTo>
                  <a:cubicBezTo>
                    <a:pt x="92" y="106"/>
                    <a:pt x="89" y="110"/>
                    <a:pt x="85" y="114"/>
                  </a:cubicBezTo>
                  <a:cubicBezTo>
                    <a:pt x="80" y="117"/>
                    <a:pt x="76" y="120"/>
                    <a:pt x="71" y="122"/>
                  </a:cubicBezTo>
                  <a:cubicBezTo>
                    <a:pt x="66" y="125"/>
                    <a:pt x="61" y="126"/>
                    <a:pt x="55" y="128"/>
                  </a:cubicBezTo>
                  <a:cubicBezTo>
                    <a:pt x="50" y="129"/>
                    <a:pt x="44" y="129"/>
                    <a:pt x="39" y="129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50" y="0"/>
                    <a:pt x="59" y="1"/>
                    <a:pt x="67" y="3"/>
                  </a:cubicBezTo>
                  <a:cubicBezTo>
                    <a:pt x="74" y="5"/>
                    <a:pt x="81" y="9"/>
                    <a:pt x="87" y="14"/>
                  </a:cubicBezTo>
                  <a:cubicBezTo>
                    <a:pt x="93" y="19"/>
                    <a:pt x="97" y="26"/>
                    <a:pt x="100" y="34"/>
                  </a:cubicBezTo>
                  <a:cubicBezTo>
                    <a:pt x="104" y="43"/>
                    <a:pt x="105" y="53"/>
                    <a:pt x="105" y="64"/>
                  </a:cubicBezTo>
                  <a:close/>
                  <a:moveTo>
                    <a:pt x="79" y="64"/>
                  </a:moveTo>
                  <a:cubicBezTo>
                    <a:pt x="79" y="58"/>
                    <a:pt x="78" y="52"/>
                    <a:pt x="76" y="47"/>
                  </a:cubicBezTo>
                  <a:cubicBezTo>
                    <a:pt x="75" y="42"/>
                    <a:pt x="73" y="38"/>
                    <a:pt x="70" y="35"/>
                  </a:cubicBezTo>
                  <a:cubicBezTo>
                    <a:pt x="66" y="31"/>
                    <a:pt x="62" y="29"/>
                    <a:pt x="58" y="27"/>
                  </a:cubicBezTo>
                  <a:cubicBezTo>
                    <a:pt x="53" y="26"/>
                    <a:pt x="47" y="25"/>
                    <a:pt x="40" y="25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6" y="104"/>
                    <a:pt x="26" y="104"/>
                    <a:pt x="26" y="104"/>
                  </a:cubicBezTo>
                  <a:cubicBezTo>
                    <a:pt x="39" y="104"/>
                    <a:pt x="39" y="104"/>
                    <a:pt x="39" y="104"/>
                  </a:cubicBezTo>
                  <a:cubicBezTo>
                    <a:pt x="46" y="104"/>
                    <a:pt x="52" y="103"/>
                    <a:pt x="57" y="101"/>
                  </a:cubicBezTo>
                  <a:cubicBezTo>
                    <a:pt x="62" y="99"/>
                    <a:pt x="66" y="97"/>
                    <a:pt x="69" y="93"/>
                  </a:cubicBezTo>
                  <a:cubicBezTo>
                    <a:pt x="72" y="90"/>
                    <a:pt x="75" y="85"/>
                    <a:pt x="76" y="81"/>
                  </a:cubicBezTo>
                  <a:cubicBezTo>
                    <a:pt x="78" y="76"/>
                    <a:pt x="79" y="70"/>
                    <a:pt x="79" y="6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03" name="Freeform 21">
              <a:extLst>
                <a:ext uri="{FF2B5EF4-FFF2-40B4-BE49-F238E27FC236}">
                  <a16:creationId xmlns:a16="http://schemas.microsoft.com/office/drawing/2014/main" id="{4BB24B6E-8D3D-449A-850B-52F8A8EF40A7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9964502" y="1430515"/>
              <a:ext cx="56222" cy="69297"/>
            </a:xfrm>
            <a:custGeom>
              <a:avLst/>
              <a:gdLst>
                <a:gd name="T0" fmla="*/ 84 w 84"/>
                <a:gd name="T1" fmla="*/ 51 h 101"/>
                <a:gd name="T2" fmla="*/ 84 w 84"/>
                <a:gd name="T3" fmla="*/ 55 h 101"/>
                <a:gd name="T4" fmla="*/ 84 w 84"/>
                <a:gd name="T5" fmla="*/ 59 h 101"/>
                <a:gd name="T6" fmla="*/ 26 w 84"/>
                <a:gd name="T7" fmla="*/ 59 h 101"/>
                <a:gd name="T8" fmla="*/ 28 w 84"/>
                <a:gd name="T9" fmla="*/ 67 h 101"/>
                <a:gd name="T10" fmla="*/ 32 w 84"/>
                <a:gd name="T11" fmla="*/ 73 h 101"/>
                <a:gd name="T12" fmla="*/ 39 w 84"/>
                <a:gd name="T13" fmla="*/ 76 h 101"/>
                <a:gd name="T14" fmla="*/ 46 w 84"/>
                <a:gd name="T15" fmla="*/ 77 h 101"/>
                <a:gd name="T16" fmla="*/ 50 w 84"/>
                <a:gd name="T17" fmla="*/ 77 h 101"/>
                <a:gd name="T18" fmla="*/ 55 w 84"/>
                <a:gd name="T19" fmla="*/ 75 h 101"/>
                <a:gd name="T20" fmla="*/ 59 w 84"/>
                <a:gd name="T21" fmla="*/ 73 h 101"/>
                <a:gd name="T22" fmla="*/ 62 w 84"/>
                <a:gd name="T23" fmla="*/ 70 h 101"/>
                <a:gd name="T24" fmla="*/ 80 w 84"/>
                <a:gd name="T25" fmla="*/ 85 h 101"/>
                <a:gd name="T26" fmla="*/ 74 w 84"/>
                <a:gd name="T27" fmla="*/ 92 h 101"/>
                <a:gd name="T28" fmla="*/ 65 w 84"/>
                <a:gd name="T29" fmla="*/ 97 h 101"/>
                <a:gd name="T30" fmla="*/ 55 w 84"/>
                <a:gd name="T31" fmla="*/ 100 h 101"/>
                <a:gd name="T32" fmla="*/ 46 w 84"/>
                <a:gd name="T33" fmla="*/ 101 h 101"/>
                <a:gd name="T34" fmla="*/ 31 w 84"/>
                <a:gd name="T35" fmla="*/ 99 h 101"/>
                <a:gd name="T36" fmla="*/ 20 w 84"/>
                <a:gd name="T37" fmla="*/ 94 h 101"/>
                <a:gd name="T38" fmla="*/ 12 w 84"/>
                <a:gd name="T39" fmla="*/ 87 h 101"/>
                <a:gd name="T40" fmla="*/ 5 w 84"/>
                <a:gd name="T41" fmla="*/ 77 h 101"/>
                <a:gd name="T42" fmla="*/ 1 w 84"/>
                <a:gd name="T43" fmla="*/ 65 h 101"/>
                <a:gd name="T44" fmla="*/ 0 w 84"/>
                <a:gd name="T45" fmla="*/ 51 h 101"/>
                <a:gd name="T46" fmla="*/ 3 w 84"/>
                <a:gd name="T47" fmla="*/ 30 h 101"/>
                <a:gd name="T48" fmla="*/ 12 w 84"/>
                <a:gd name="T49" fmla="*/ 14 h 101"/>
                <a:gd name="T50" fmla="*/ 26 w 84"/>
                <a:gd name="T51" fmla="*/ 4 h 101"/>
                <a:gd name="T52" fmla="*/ 43 w 84"/>
                <a:gd name="T53" fmla="*/ 0 h 101"/>
                <a:gd name="T54" fmla="*/ 61 w 84"/>
                <a:gd name="T55" fmla="*/ 4 h 101"/>
                <a:gd name="T56" fmla="*/ 73 w 84"/>
                <a:gd name="T57" fmla="*/ 15 h 101"/>
                <a:gd name="T58" fmla="*/ 81 w 84"/>
                <a:gd name="T59" fmla="*/ 31 h 101"/>
                <a:gd name="T60" fmla="*/ 84 w 84"/>
                <a:gd name="T61" fmla="*/ 51 h 101"/>
                <a:gd name="T62" fmla="*/ 59 w 84"/>
                <a:gd name="T63" fmla="*/ 40 h 101"/>
                <a:gd name="T64" fmla="*/ 58 w 84"/>
                <a:gd name="T65" fmla="*/ 33 h 101"/>
                <a:gd name="T66" fmla="*/ 55 w 84"/>
                <a:gd name="T67" fmla="*/ 28 h 101"/>
                <a:gd name="T68" fmla="*/ 49 w 84"/>
                <a:gd name="T69" fmla="*/ 24 h 101"/>
                <a:gd name="T70" fmla="*/ 42 w 84"/>
                <a:gd name="T71" fmla="*/ 22 h 101"/>
                <a:gd name="T72" fmla="*/ 36 w 84"/>
                <a:gd name="T73" fmla="*/ 24 h 101"/>
                <a:gd name="T74" fmla="*/ 31 w 84"/>
                <a:gd name="T75" fmla="*/ 27 h 101"/>
                <a:gd name="T76" fmla="*/ 28 w 84"/>
                <a:gd name="T77" fmla="*/ 33 h 101"/>
                <a:gd name="T78" fmla="*/ 26 w 84"/>
                <a:gd name="T79" fmla="*/ 40 h 101"/>
                <a:gd name="T80" fmla="*/ 59 w 84"/>
                <a:gd name="T81" fmla="*/ 4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4" h="101">
                  <a:moveTo>
                    <a:pt x="84" y="51"/>
                  </a:moveTo>
                  <a:cubicBezTo>
                    <a:pt x="84" y="52"/>
                    <a:pt x="84" y="54"/>
                    <a:pt x="84" y="55"/>
                  </a:cubicBezTo>
                  <a:cubicBezTo>
                    <a:pt x="84" y="57"/>
                    <a:pt x="84" y="58"/>
                    <a:pt x="84" y="59"/>
                  </a:cubicBezTo>
                  <a:cubicBezTo>
                    <a:pt x="26" y="59"/>
                    <a:pt x="26" y="59"/>
                    <a:pt x="26" y="59"/>
                  </a:cubicBezTo>
                  <a:cubicBezTo>
                    <a:pt x="26" y="62"/>
                    <a:pt x="27" y="65"/>
                    <a:pt x="28" y="67"/>
                  </a:cubicBezTo>
                  <a:cubicBezTo>
                    <a:pt x="29" y="70"/>
                    <a:pt x="31" y="71"/>
                    <a:pt x="32" y="73"/>
                  </a:cubicBezTo>
                  <a:cubicBezTo>
                    <a:pt x="34" y="74"/>
                    <a:pt x="36" y="75"/>
                    <a:pt x="39" y="76"/>
                  </a:cubicBezTo>
                  <a:cubicBezTo>
                    <a:pt x="41" y="77"/>
                    <a:pt x="43" y="77"/>
                    <a:pt x="46" y="77"/>
                  </a:cubicBezTo>
                  <a:cubicBezTo>
                    <a:pt x="47" y="77"/>
                    <a:pt x="49" y="77"/>
                    <a:pt x="50" y="77"/>
                  </a:cubicBezTo>
                  <a:cubicBezTo>
                    <a:pt x="52" y="76"/>
                    <a:pt x="54" y="76"/>
                    <a:pt x="55" y="75"/>
                  </a:cubicBezTo>
                  <a:cubicBezTo>
                    <a:pt x="57" y="75"/>
                    <a:pt x="58" y="74"/>
                    <a:pt x="59" y="73"/>
                  </a:cubicBezTo>
                  <a:cubicBezTo>
                    <a:pt x="60" y="72"/>
                    <a:pt x="61" y="71"/>
                    <a:pt x="62" y="70"/>
                  </a:cubicBezTo>
                  <a:cubicBezTo>
                    <a:pt x="80" y="85"/>
                    <a:pt x="80" y="85"/>
                    <a:pt x="80" y="85"/>
                  </a:cubicBezTo>
                  <a:cubicBezTo>
                    <a:pt x="78" y="88"/>
                    <a:pt x="76" y="90"/>
                    <a:pt x="74" y="92"/>
                  </a:cubicBezTo>
                  <a:cubicBezTo>
                    <a:pt x="71" y="94"/>
                    <a:pt x="68" y="96"/>
                    <a:pt x="65" y="97"/>
                  </a:cubicBezTo>
                  <a:cubicBezTo>
                    <a:pt x="62" y="98"/>
                    <a:pt x="59" y="99"/>
                    <a:pt x="55" y="100"/>
                  </a:cubicBezTo>
                  <a:cubicBezTo>
                    <a:pt x="52" y="101"/>
                    <a:pt x="49" y="101"/>
                    <a:pt x="46" y="101"/>
                  </a:cubicBezTo>
                  <a:cubicBezTo>
                    <a:pt x="40" y="101"/>
                    <a:pt x="35" y="101"/>
                    <a:pt x="31" y="99"/>
                  </a:cubicBezTo>
                  <a:cubicBezTo>
                    <a:pt x="27" y="98"/>
                    <a:pt x="23" y="96"/>
                    <a:pt x="20" y="94"/>
                  </a:cubicBezTo>
                  <a:cubicBezTo>
                    <a:pt x="17" y="92"/>
                    <a:pt x="14" y="89"/>
                    <a:pt x="12" y="87"/>
                  </a:cubicBezTo>
                  <a:cubicBezTo>
                    <a:pt x="9" y="84"/>
                    <a:pt x="7" y="80"/>
                    <a:pt x="5" y="77"/>
                  </a:cubicBezTo>
                  <a:cubicBezTo>
                    <a:pt x="4" y="73"/>
                    <a:pt x="2" y="69"/>
                    <a:pt x="1" y="65"/>
                  </a:cubicBezTo>
                  <a:cubicBezTo>
                    <a:pt x="0" y="61"/>
                    <a:pt x="0" y="56"/>
                    <a:pt x="0" y="51"/>
                  </a:cubicBezTo>
                  <a:cubicBezTo>
                    <a:pt x="0" y="43"/>
                    <a:pt x="1" y="36"/>
                    <a:pt x="3" y="30"/>
                  </a:cubicBezTo>
                  <a:cubicBezTo>
                    <a:pt x="5" y="24"/>
                    <a:pt x="8" y="19"/>
                    <a:pt x="12" y="14"/>
                  </a:cubicBezTo>
                  <a:cubicBezTo>
                    <a:pt x="16" y="10"/>
                    <a:pt x="21" y="6"/>
                    <a:pt x="26" y="4"/>
                  </a:cubicBezTo>
                  <a:cubicBezTo>
                    <a:pt x="31" y="1"/>
                    <a:pt x="37" y="0"/>
                    <a:pt x="43" y="0"/>
                  </a:cubicBezTo>
                  <a:cubicBezTo>
                    <a:pt x="50" y="0"/>
                    <a:pt x="55" y="1"/>
                    <a:pt x="61" y="4"/>
                  </a:cubicBezTo>
                  <a:cubicBezTo>
                    <a:pt x="66" y="7"/>
                    <a:pt x="70" y="10"/>
                    <a:pt x="73" y="15"/>
                  </a:cubicBezTo>
                  <a:cubicBezTo>
                    <a:pt x="77" y="19"/>
                    <a:pt x="79" y="25"/>
                    <a:pt x="81" y="31"/>
                  </a:cubicBezTo>
                  <a:cubicBezTo>
                    <a:pt x="83" y="37"/>
                    <a:pt x="84" y="44"/>
                    <a:pt x="84" y="51"/>
                  </a:cubicBezTo>
                  <a:close/>
                  <a:moveTo>
                    <a:pt x="59" y="40"/>
                  </a:moveTo>
                  <a:cubicBezTo>
                    <a:pt x="59" y="37"/>
                    <a:pt x="59" y="35"/>
                    <a:pt x="58" y="33"/>
                  </a:cubicBezTo>
                  <a:cubicBezTo>
                    <a:pt x="57" y="31"/>
                    <a:pt x="56" y="29"/>
                    <a:pt x="55" y="28"/>
                  </a:cubicBezTo>
                  <a:cubicBezTo>
                    <a:pt x="53" y="26"/>
                    <a:pt x="51" y="25"/>
                    <a:pt x="49" y="24"/>
                  </a:cubicBezTo>
                  <a:cubicBezTo>
                    <a:pt x="47" y="23"/>
                    <a:pt x="45" y="22"/>
                    <a:pt x="42" y="22"/>
                  </a:cubicBezTo>
                  <a:cubicBezTo>
                    <a:pt x="40" y="22"/>
                    <a:pt x="37" y="23"/>
                    <a:pt x="36" y="24"/>
                  </a:cubicBezTo>
                  <a:cubicBezTo>
                    <a:pt x="34" y="24"/>
                    <a:pt x="32" y="26"/>
                    <a:pt x="31" y="27"/>
                  </a:cubicBezTo>
                  <a:cubicBezTo>
                    <a:pt x="29" y="29"/>
                    <a:pt x="28" y="31"/>
                    <a:pt x="28" y="33"/>
                  </a:cubicBezTo>
                  <a:cubicBezTo>
                    <a:pt x="27" y="35"/>
                    <a:pt x="26" y="37"/>
                    <a:pt x="26" y="40"/>
                  </a:cubicBezTo>
                  <a:lnTo>
                    <a:pt x="59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04" name="Freeform 22">
              <a:extLst>
                <a:ext uri="{FF2B5EF4-FFF2-40B4-BE49-F238E27FC236}">
                  <a16:creationId xmlns:a16="http://schemas.microsoft.com/office/drawing/2014/main" id="{767CA49F-CF78-4517-9D40-459A6165DB66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035106" y="1431822"/>
              <a:ext cx="57529" cy="67989"/>
            </a:xfrm>
            <a:custGeom>
              <a:avLst/>
              <a:gdLst>
                <a:gd name="T0" fmla="*/ 58 w 84"/>
                <a:gd name="T1" fmla="*/ 97 h 99"/>
                <a:gd name="T2" fmla="*/ 58 w 84"/>
                <a:gd name="T3" fmla="*/ 91 h 99"/>
                <a:gd name="T4" fmla="*/ 49 w 84"/>
                <a:gd name="T5" fmla="*/ 97 h 99"/>
                <a:gd name="T6" fmla="*/ 35 w 84"/>
                <a:gd name="T7" fmla="*/ 99 h 99"/>
                <a:gd name="T8" fmla="*/ 9 w 84"/>
                <a:gd name="T9" fmla="*/ 88 h 99"/>
                <a:gd name="T10" fmla="*/ 0 w 84"/>
                <a:gd name="T11" fmla="*/ 55 h 99"/>
                <a:gd name="T12" fmla="*/ 0 w 84"/>
                <a:gd name="T13" fmla="*/ 0 h 99"/>
                <a:gd name="T14" fmla="*/ 25 w 84"/>
                <a:gd name="T15" fmla="*/ 0 h 99"/>
                <a:gd name="T16" fmla="*/ 25 w 84"/>
                <a:gd name="T17" fmla="*/ 52 h 99"/>
                <a:gd name="T18" fmla="*/ 29 w 84"/>
                <a:gd name="T19" fmla="*/ 70 h 99"/>
                <a:gd name="T20" fmla="*/ 42 w 84"/>
                <a:gd name="T21" fmla="*/ 75 h 99"/>
                <a:gd name="T22" fmla="*/ 54 w 84"/>
                <a:gd name="T23" fmla="*/ 70 h 99"/>
                <a:gd name="T24" fmla="*/ 58 w 84"/>
                <a:gd name="T25" fmla="*/ 53 h 99"/>
                <a:gd name="T26" fmla="*/ 58 w 84"/>
                <a:gd name="T27" fmla="*/ 0 h 99"/>
                <a:gd name="T28" fmla="*/ 84 w 84"/>
                <a:gd name="T29" fmla="*/ 0 h 99"/>
                <a:gd name="T30" fmla="*/ 84 w 84"/>
                <a:gd name="T31" fmla="*/ 97 h 99"/>
                <a:gd name="T32" fmla="*/ 58 w 84"/>
                <a:gd name="T33" fmla="*/ 97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4" h="99">
                  <a:moveTo>
                    <a:pt x="58" y="97"/>
                  </a:moveTo>
                  <a:cubicBezTo>
                    <a:pt x="58" y="91"/>
                    <a:pt x="58" y="91"/>
                    <a:pt x="58" y="91"/>
                  </a:cubicBezTo>
                  <a:cubicBezTo>
                    <a:pt x="56" y="93"/>
                    <a:pt x="53" y="95"/>
                    <a:pt x="49" y="97"/>
                  </a:cubicBezTo>
                  <a:cubicBezTo>
                    <a:pt x="45" y="98"/>
                    <a:pt x="41" y="99"/>
                    <a:pt x="35" y="99"/>
                  </a:cubicBezTo>
                  <a:cubicBezTo>
                    <a:pt x="24" y="99"/>
                    <a:pt x="15" y="95"/>
                    <a:pt x="9" y="88"/>
                  </a:cubicBezTo>
                  <a:cubicBezTo>
                    <a:pt x="3" y="80"/>
                    <a:pt x="0" y="69"/>
                    <a:pt x="0" y="5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52"/>
                    <a:pt x="25" y="52"/>
                    <a:pt x="25" y="52"/>
                  </a:cubicBezTo>
                  <a:cubicBezTo>
                    <a:pt x="25" y="60"/>
                    <a:pt x="26" y="66"/>
                    <a:pt x="29" y="70"/>
                  </a:cubicBezTo>
                  <a:cubicBezTo>
                    <a:pt x="31" y="73"/>
                    <a:pt x="36" y="75"/>
                    <a:pt x="42" y="75"/>
                  </a:cubicBezTo>
                  <a:cubicBezTo>
                    <a:pt x="48" y="75"/>
                    <a:pt x="52" y="73"/>
                    <a:pt x="54" y="70"/>
                  </a:cubicBezTo>
                  <a:cubicBezTo>
                    <a:pt x="57" y="66"/>
                    <a:pt x="58" y="60"/>
                    <a:pt x="58" y="53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97"/>
                    <a:pt x="84" y="97"/>
                    <a:pt x="84" y="97"/>
                  </a:cubicBezTo>
                  <a:lnTo>
                    <a:pt x="58" y="9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05" name="Freeform 23">
              <a:extLst>
                <a:ext uri="{FF2B5EF4-FFF2-40B4-BE49-F238E27FC236}">
                  <a16:creationId xmlns:a16="http://schemas.microsoft.com/office/drawing/2014/main" id="{BCE97B83-65DD-49DB-AC39-56BB28ACA966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104403" y="1406980"/>
              <a:ext cx="43148" cy="92832"/>
            </a:xfrm>
            <a:custGeom>
              <a:avLst/>
              <a:gdLst>
                <a:gd name="T0" fmla="*/ 62 w 65"/>
                <a:gd name="T1" fmla="*/ 131 h 137"/>
                <a:gd name="T2" fmla="*/ 53 w 65"/>
                <a:gd name="T3" fmla="*/ 135 h 137"/>
                <a:gd name="T4" fmla="*/ 42 w 65"/>
                <a:gd name="T5" fmla="*/ 137 h 137"/>
                <a:gd name="T6" fmla="*/ 31 w 65"/>
                <a:gd name="T7" fmla="*/ 135 h 137"/>
                <a:gd name="T8" fmla="*/ 23 w 65"/>
                <a:gd name="T9" fmla="*/ 129 h 137"/>
                <a:gd name="T10" fmla="*/ 18 w 65"/>
                <a:gd name="T11" fmla="*/ 120 h 137"/>
                <a:gd name="T12" fmla="*/ 16 w 65"/>
                <a:gd name="T13" fmla="*/ 108 h 137"/>
                <a:gd name="T14" fmla="*/ 16 w 65"/>
                <a:gd name="T15" fmla="*/ 62 h 137"/>
                <a:gd name="T16" fmla="*/ 0 w 65"/>
                <a:gd name="T17" fmla="*/ 62 h 137"/>
                <a:gd name="T18" fmla="*/ 0 w 65"/>
                <a:gd name="T19" fmla="*/ 38 h 137"/>
                <a:gd name="T20" fmla="*/ 16 w 65"/>
                <a:gd name="T21" fmla="*/ 38 h 137"/>
                <a:gd name="T22" fmla="*/ 16 w 65"/>
                <a:gd name="T23" fmla="*/ 13 h 137"/>
                <a:gd name="T24" fmla="*/ 42 w 65"/>
                <a:gd name="T25" fmla="*/ 0 h 137"/>
                <a:gd name="T26" fmla="*/ 42 w 65"/>
                <a:gd name="T27" fmla="*/ 38 h 137"/>
                <a:gd name="T28" fmla="*/ 65 w 65"/>
                <a:gd name="T29" fmla="*/ 38 h 137"/>
                <a:gd name="T30" fmla="*/ 65 w 65"/>
                <a:gd name="T31" fmla="*/ 62 h 137"/>
                <a:gd name="T32" fmla="*/ 42 w 65"/>
                <a:gd name="T33" fmla="*/ 62 h 137"/>
                <a:gd name="T34" fmla="*/ 42 w 65"/>
                <a:gd name="T35" fmla="*/ 101 h 137"/>
                <a:gd name="T36" fmla="*/ 42 w 65"/>
                <a:gd name="T37" fmla="*/ 107 h 137"/>
                <a:gd name="T38" fmla="*/ 44 w 65"/>
                <a:gd name="T39" fmla="*/ 110 h 137"/>
                <a:gd name="T40" fmla="*/ 47 w 65"/>
                <a:gd name="T41" fmla="*/ 112 h 137"/>
                <a:gd name="T42" fmla="*/ 51 w 65"/>
                <a:gd name="T43" fmla="*/ 113 h 137"/>
                <a:gd name="T44" fmla="*/ 58 w 65"/>
                <a:gd name="T45" fmla="*/ 111 h 137"/>
                <a:gd name="T46" fmla="*/ 65 w 65"/>
                <a:gd name="T47" fmla="*/ 105 h 137"/>
                <a:gd name="T48" fmla="*/ 62 w 65"/>
                <a:gd name="T49" fmla="*/ 131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5" h="137">
                  <a:moveTo>
                    <a:pt x="62" y="131"/>
                  </a:moveTo>
                  <a:cubicBezTo>
                    <a:pt x="60" y="133"/>
                    <a:pt x="57" y="134"/>
                    <a:pt x="53" y="135"/>
                  </a:cubicBezTo>
                  <a:cubicBezTo>
                    <a:pt x="50" y="137"/>
                    <a:pt x="46" y="137"/>
                    <a:pt x="42" y="137"/>
                  </a:cubicBezTo>
                  <a:cubicBezTo>
                    <a:pt x="38" y="137"/>
                    <a:pt x="34" y="136"/>
                    <a:pt x="31" y="135"/>
                  </a:cubicBezTo>
                  <a:cubicBezTo>
                    <a:pt x="28" y="134"/>
                    <a:pt x="25" y="132"/>
                    <a:pt x="23" y="129"/>
                  </a:cubicBezTo>
                  <a:cubicBezTo>
                    <a:pt x="21" y="126"/>
                    <a:pt x="19" y="123"/>
                    <a:pt x="18" y="120"/>
                  </a:cubicBezTo>
                  <a:cubicBezTo>
                    <a:pt x="17" y="116"/>
                    <a:pt x="16" y="112"/>
                    <a:pt x="16" y="108"/>
                  </a:cubicBezTo>
                  <a:cubicBezTo>
                    <a:pt x="16" y="62"/>
                    <a:pt x="16" y="62"/>
                    <a:pt x="16" y="62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38"/>
                    <a:pt x="42" y="38"/>
                    <a:pt x="42" y="38"/>
                  </a:cubicBezTo>
                  <a:cubicBezTo>
                    <a:pt x="65" y="38"/>
                    <a:pt x="65" y="38"/>
                    <a:pt x="65" y="38"/>
                  </a:cubicBezTo>
                  <a:cubicBezTo>
                    <a:pt x="65" y="62"/>
                    <a:pt x="65" y="62"/>
                    <a:pt x="65" y="62"/>
                  </a:cubicBezTo>
                  <a:cubicBezTo>
                    <a:pt x="42" y="62"/>
                    <a:pt x="42" y="62"/>
                    <a:pt x="42" y="62"/>
                  </a:cubicBezTo>
                  <a:cubicBezTo>
                    <a:pt x="42" y="101"/>
                    <a:pt x="42" y="101"/>
                    <a:pt x="42" y="101"/>
                  </a:cubicBezTo>
                  <a:cubicBezTo>
                    <a:pt x="42" y="103"/>
                    <a:pt x="42" y="105"/>
                    <a:pt x="42" y="107"/>
                  </a:cubicBezTo>
                  <a:cubicBezTo>
                    <a:pt x="43" y="108"/>
                    <a:pt x="43" y="110"/>
                    <a:pt x="44" y="110"/>
                  </a:cubicBezTo>
                  <a:cubicBezTo>
                    <a:pt x="45" y="111"/>
                    <a:pt x="46" y="112"/>
                    <a:pt x="47" y="112"/>
                  </a:cubicBezTo>
                  <a:cubicBezTo>
                    <a:pt x="48" y="113"/>
                    <a:pt x="49" y="113"/>
                    <a:pt x="51" y="113"/>
                  </a:cubicBezTo>
                  <a:cubicBezTo>
                    <a:pt x="53" y="113"/>
                    <a:pt x="55" y="112"/>
                    <a:pt x="58" y="111"/>
                  </a:cubicBezTo>
                  <a:cubicBezTo>
                    <a:pt x="60" y="110"/>
                    <a:pt x="62" y="108"/>
                    <a:pt x="65" y="105"/>
                  </a:cubicBezTo>
                  <a:lnTo>
                    <a:pt x="62" y="13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06" name="Freeform 24">
              <a:extLst>
                <a:ext uri="{FF2B5EF4-FFF2-40B4-BE49-F238E27FC236}">
                  <a16:creationId xmlns:a16="http://schemas.microsoft.com/office/drawing/2014/main" id="{3A70ECD6-5CB1-4ABC-BD20-5CD3C4FFDF5E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160625" y="1430515"/>
              <a:ext cx="56222" cy="69297"/>
            </a:xfrm>
            <a:custGeom>
              <a:avLst/>
              <a:gdLst>
                <a:gd name="T0" fmla="*/ 78 w 81"/>
                <a:gd name="T1" fmla="*/ 9 h 101"/>
                <a:gd name="T2" fmla="*/ 70 w 81"/>
                <a:gd name="T3" fmla="*/ 30 h 101"/>
                <a:gd name="T4" fmla="*/ 55 w 81"/>
                <a:gd name="T5" fmla="*/ 24 h 101"/>
                <a:gd name="T6" fmla="*/ 41 w 81"/>
                <a:gd name="T7" fmla="*/ 22 h 101"/>
                <a:gd name="T8" fmla="*/ 31 w 81"/>
                <a:gd name="T9" fmla="*/ 23 h 101"/>
                <a:gd name="T10" fmla="*/ 28 w 81"/>
                <a:gd name="T11" fmla="*/ 28 h 101"/>
                <a:gd name="T12" fmla="*/ 29 w 81"/>
                <a:gd name="T13" fmla="*/ 31 h 101"/>
                <a:gd name="T14" fmla="*/ 32 w 81"/>
                <a:gd name="T15" fmla="*/ 33 h 101"/>
                <a:gd name="T16" fmla="*/ 38 w 81"/>
                <a:gd name="T17" fmla="*/ 36 h 101"/>
                <a:gd name="T18" fmla="*/ 48 w 81"/>
                <a:gd name="T19" fmla="*/ 39 h 101"/>
                <a:gd name="T20" fmla="*/ 61 w 81"/>
                <a:gd name="T21" fmla="*/ 44 h 101"/>
                <a:gd name="T22" fmla="*/ 71 w 81"/>
                <a:gd name="T23" fmla="*/ 50 h 101"/>
                <a:gd name="T24" fmla="*/ 78 w 81"/>
                <a:gd name="T25" fmla="*/ 59 h 101"/>
                <a:gd name="T26" fmla="*/ 81 w 81"/>
                <a:gd name="T27" fmla="*/ 71 h 101"/>
                <a:gd name="T28" fmla="*/ 78 w 81"/>
                <a:gd name="T29" fmla="*/ 85 h 101"/>
                <a:gd name="T30" fmla="*/ 69 w 81"/>
                <a:gd name="T31" fmla="*/ 94 h 101"/>
                <a:gd name="T32" fmla="*/ 57 w 81"/>
                <a:gd name="T33" fmla="*/ 100 h 101"/>
                <a:gd name="T34" fmla="*/ 41 w 81"/>
                <a:gd name="T35" fmla="*/ 101 h 101"/>
                <a:gd name="T36" fmla="*/ 19 w 81"/>
                <a:gd name="T37" fmla="*/ 98 h 101"/>
                <a:gd name="T38" fmla="*/ 0 w 81"/>
                <a:gd name="T39" fmla="*/ 90 h 101"/>
                <a:gd name="T40" fmla="*/ 9 w 81"/>
                <a:gd name="T41" fmla="*/ 70 h 101"/>
                <a:gd name="T42" fmla="*/ 25 w 81"/>
                <a:gd name="T43" fmla="*/ 77 h 101"/>
                <a:gd name="T44" fmla="*/ 43 w 81"/>
                <a:gd name="T45" fmla="*/ 79 h 101"/>
                <a:gd name="T46" fmla="*/ 53 w 81"/>
                <a:gd name="T47" fmla="*/ 78 h 101"/>
                <a:gd name="T48" fmla="*/ 56 w 81"/>
                <a:gd name="T49" fmla="*/ 72 h 101"/>
                <a:gd name="T50" fmla="*/ 55 w 81"/>
                <a:gd name="T51" fmla="*/ 69 h 101"/>
                <a:gd name="T52" fmla="*/ 53 w 81"/>
                <a:gd name="T53" fmla="*/ 67 h 101"/>
                <a:gd name="T54" fmla="*/ 48 w 81"/>
                <a:gd name="T55" fmla="*/ 64 h 101"/>
                <a:gd name="T56" fmla="*/ 41 w 81"/>
                <a:gd name="T57" fmla="*/ 62 h 101"/>
                <a:gd name="T58" fmla="*/ 26 w 81"/>
                <a:gd name="T59" fmla="*/ 57 h 101"/>
                <a:gd name="T60" fmla="*/ 13 w 81"/>
                <a:gd name="T61" fmla="*/ 51 h 101"/>
                <a:gd name="T62" fmla="*/ 6 w 81"/>
                <a:gd name="T63" fmla="*/ 42 h 101"/>
                <a:gd name="T64" fmla="*/ 3 w 81"/>
                <a:gd name="T65" fmla="*/ 29 h 101"/>
                <a:gd name="T66" fmla="*/ 6 w 81"/>
                <a:gd name="T67" fmla="*/ 16 h 101"/>
                <a:gd name="T68" fmla="*/ 14 w 81"/>
                <a:gd name="T69" fmla="*/ 7 h 101"/>
                <a:gd name="T70" fmla="*/ 26 w 81"/>
                <a:gd name="T71" fmla="*/ 2 h 101"/>
                <a:gd name="T72" fmla="*/ 42 w 81"/>
                <a:gd name="T73" fmla="*/ 0 h 101"/>
                <a:gd name="T74" fmla="*/ 61 w 81"/>
                <a:gd name="T75" fmla="*/ 3 h 101"/>
                <a:gd name="T76" fmla="*/ 78 w 81"/>
                <a:gd name="T77" fmla="*/ 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81" h="101">
                  <a:moveTo>
                    <a:pt x="78" y="9"/>
                  </a:moveTo>
                  <a:cubicBezTo>
                    <a:pt x="70" y="30"/>
                    <a:pt x="70" y="30"/>
                    <a:pt x="70" y="30"/>
                  </a:cubicBezTo>
                  <a:cubicBezTo>
                    <a:pt x="65" y="27"/>
                    <a:pt x="60" y="25"/>
                    <a:pt x="55" y="24"/>
                  </a:cubicBezTo>
                  <a:cubicBezTo>
                    <a:pt x="50" y="22"/>
                    <a:pt x="45" y="22"/>
                    <a:pt x="41" y="22"/>
                  </a:cubicBezTo>
                  <a:cubicBezTo>
                    <a:pt x="37" y="22"/>
                    <a:pt x="34" y="22"/>
                    <a:pt x="31" y="23"/>
                  </a:cubicBezTo>
                  <a:cubicBezTo>
                    <a:pt x="29" y="24"/>
                    <a:pt x="28" y="26"/>
                    <a:pt x="28" y="28"/>
                  </a:cubicBezTo>
                  <a:cubicBezTo>
                    <a:pt x="28" y="29"/>
                    <a:pt x="29" y="30"/>
                    <a:pt x="29" y="31"/>
                  </a:cubicBezTo>
                  <a:cubicBezTo>
                    <a:pt x="29" y="32"/>
                    <a:pt x="30" y="32"/>
                    <a:pt x="32" y="33"/>
                  </a:cubicBezTo>
                  <a:cubicBezTo>
                    <a:pt x="33" y="34"/>
                    <a:pt x="35" y="35"/>
                    <a:pt x="38" y="36"/>
                  </a:cubicBezTo>
                  <a:cubicBezTo>
                    <a:pt x="41" y="37"/>
                    <a:pt x="44" y="38"/>
                    <a:pt x="48" y="39"/>
                  </a:cubicBezTo>
                  <a:cubicBezTo>
                    <a:pt x="53" y="41"/>
                    <a:pt x="57" y="42"/>
                    <a:pt x="61" y="44"/>
                  </a:cubicBezTo>
                  <a:cubicBezTo>
                    <a:pt x="65" y="46"/>
                    <a:pt x="68" y="48"/>
                    <a:pt x="71" y="50"/>
                  </a:cubicBezTo>
                  <a:cubicBezTo>
                    <a:pt x="74" y="52"/>
                    <a:pt x="76" y="55"/>
                    <a:pt x="78" y="59"/>
                  </a:cubicBezTo>
                  <a:cubicBezTo>
                    <a:pt x="80" y="62"/>
                    <a:pt x="81" y="66"/>
                    <a:pt x="81" y="71"/>
                  </a:cubicBezTo>
                  <a:cubicBezTo>
                    <a:pt x="81" y="76"/>
                    <a:pt x="80" y="81"/>
                    <a:pt x="78" y="85"/>
                  </a:cubicBezTo>
                  <a:cubicBezTo>
                    <a:pt x="76" y="89"/>
                    <a:pt x="73" y="92"/>
                    <a:pt x="69" y="94"/>
                  </a:cubicBezTo>
                  <a:cubicBezTo>
                    <a:pt x="66" y="97"/>
                    <a:pt x="61" y="98"/>
                    <a:pt x="57" y="100"/>
                  </a:cubicBezTo>
                  <a:cubicBezTo>
                    <a:pt x="52" y="101"/>
                    <a:pt x="47" y="101"/>
                    <a:pt x="41" y="101"/>
                  </a:cubicBezTo>
                  <a:cubicBezTo>
                    <a:pt x="34" y="101"/>
                    <a:pt x="26" y="100"/>
                    <a:pt x="19" y="98"/>
                  </a:cubicBezTo>
                  <a:cubicBezTo>
                    <a:pt x="12" y="96"/>
                    <a:pt x="6" y="93"/>
                    <a:pt x="0" y="90"/>
                  </a:cubicBezTo>
                  <a:cubicBezTo>
                    <a:pt x="9" y="70"/>
                    <a:pt x="9" y="70"/>
                    <a:pt x="9" y="70"/>
                  </a:cubicBezTo>
                  <a:cubicBezTo>
                    <a:pt x="14" y="73"/>
                    <a:pt x="20" y="76"/>
                    <a:pt x="25" y="77"/>
                  </a:cubicBezTo>
                  <a:cubicBezTo>
                    <a:pt x="31" y="79"/>
                    <a:pt x="36" y="79"/>
                    <a:pt x="43" y="79"/>
                  </a:cubicBezTo>
                  <a:cubicBezTo>
                    <a:pt x="47" y="79"/>
                    <a:pt x="51" y="79"/>
                    <a:pt x="53" y="78"/>
                  </a:cubicBezTo>
                  <a:cubicBezTo>
                    <a:pt x="55" y="76"/>
                    <a:pt x="56" y="75"/>
                    <a:pt x="56" y="72"/>
                  </a:cubicBezTo>
                  <a:cubicBezTo>
                    <a:pt x="56" y="71"/>
                    <a:pt x="55" y="70"/>
                    <a:pt x="55" y="69"/>
                  </a:cubicBezTo>
                  <a:cubicBezTo>
                    <a:pt x="54" y="68"/>
                    <a:pt x="54" y="67"/>
                    <a:pt x="53" y="67"/>
                  </a:cubicBezTo>
                  <a:cubicBezTo>
                    <a:pt x="51" y="66"/>
                    <a:pt x="50" y="65"/>
                    <a:pt x="48" y="64"/>
                  </a:cubicBezTo>
                  <a:cubicBezTo>
                    <a:pt x="46" y="64"/>
                    <a:pt x="44" y="63"/>
                    <a:pt x="41" y="62"/>
                  </a:cubicBezTo>
                  <a:cubicBezTo>
                    <a:pt x="36" y="60"/>
                    <a:pt x="30" y="59"/>
                    <a:pt x="26" y="57"/>
                  </a:cubicBezTo>
                  <a:cubicBezTo>
                    <a:pt x="21" y="55"/>
                    <a:pt x="17" y="53"/>
                    <a:pt x="13" y="51"/>
                  </a:cubicBezTo>
                  <a:cubicBezTo>
                    <a:pt x="10" y="48"/>
                    <a:pt x="8" y="45"/>
                    <a:pt x="6" y="42"/>
                  </a:cubicBezTo>
                  <a:cubicBezTo>
                    <a:pt x="4" y="38"/>
                    <a:pt x="3" y="34"/>
                    <a:pt x="3" y="29"/>
                  </a:cubicBezTo>
                  <a:cubicBezTo>
                    <a:pt x="3" y="24"/>
                    <a:pt x="4" y="19"/>
                    <a:pt x="6" y="16"/>
                  </a:cubicBezTo>
                  <a:cubicBezTo>
                    <a:pt x="8" y="12"/>
                    <a:pt x="10" y="9"/>
                    <a:pt x="14" y="7"/>
                  </a:cubicBezTo>
                  <a:cubicBezTo>
                    <a:pt x="17" y="4"/>
                    <a:pt x="21" y="3"/>
                    <a:pt x="26" y="2"/>
                  </a:cubicBezTo>
                  <a:cubicBezTo>
                    <a:pt x="31" y="0"/>
                    <a:pt x="36" y="0"/>
                    <a:pt x="42" y="0"/>
                  </a:cubicBezTo>
                  <a:cubicBezTo>
                    <a:pt x="48" y="0"/>
                    <a:pt x="54" y="1"/>
                    <a:pt x="61" y="3"/>
                  </a:cubicBezTo>
                  <a:cubicBezTo>
                    <a:pt x="67" y="4"/>
                    <a:pt x="73" y="7"/>
                    <a:pt x="78" y="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07" name="Freeform 25">
              <a:extLst>
                <a:ext uri="{FF2B5EF4-FFF2-40B4-BE49-F238E27FC236}">
                  <a16:creationId xmlns:a16="http://schemas.microsoft.com/office/drawing/2014/main" id="{5A85C156-A249-4B2C-8A44-A8D8A3A0EEFE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226000" y="1430515"/>
              <a:ext cx="58837" cy="69297"/>
            </a:xfrm>
            <a:custGeom>
              <a:avLst/>
              <a:gdLst>
                <a:gd name="T0" fmla="*/ 85 w 85"/>
                <a:gd name="T1" fmla="*/ 80 h 101"/>
                <a:gd name="T2" fmla="*/ 77 w 85"/>
                <a:gd name="T3" fmla="*/ 88 h 101"/>
                <a:gd name="T4" fmla="*/ 69 w 85"/>
                <a:gd name="T5" fmla="*/ 95 h 101"/>
                <a:gd name="T6" fmla="*/ 58 w 85"/>
                <a:gd name="T7" fmla="*/ 100 h 101"/>
                <a:gd name="T8" fmla="*/ 45 w 85"/>
                <a:gd name="T9" fmla="*/ 101 h 101"/>
                <a:gd name="T10" fmla="*/ 27 w 85"/>
                <a:gd name="T11" fmla="*/ 98 h 101"/>
                <a:gd name="T12" fmla="*/ 13 w 85"/>
                <a:gd name="T13" fmla="*/ 87 h 101"/>
                <a:gd name="T14" fmla="*/ 3 w 85"/>
                <a:gd name="T15" fmla="*/ 71 h 101"/>
                <a:gd name="T16" fmla="*/ 0 w 85"/>
                <a:gd name="T17" fmla="*/ 51 h 101"/>
                <a:gd name="T18" fmla="*/ 3 w 85"/>
                <a:gd name="T19" fmla="*/ 30 h 101"/>
                <a:gd name="T20" fmla="*/ 13 w 85"/>
                <a:gd name="T21" fmla="*/ 14 h 101"/>
                <a:gd name="T22" fmla="*/ 28 w 85"/>
                <a:gd name="T23" fmla="*/ 4 h 101"/>
                <a:gd name="T24" fmla="*/ 46 w 85"/>
                <a:gd name="T25" fmla="*/ 0 h 101"/>
                <a:gd name="T26" fmla="*/ 68 w 85"/>
                <a:gd name="T27" fmla="*/ 5 h 101"/>
                <a:gd name="T28" fmla="*/ 85 w 85"/>
                <a:gd name="T29" fmla="*/ 21 h 101"/>
                <a:gd name="T30" fmla="*/ 68 w 85"/>
                <a:gd name="T31" fmla="*/ 38 h 101"/>
                <a:gd name="T32" fmla="*/ 63 w 85"/>
                <a:gd name="T33" fmla="*/ 33 h 101"/>
                <a:gd name="T34" fmla="*/ 58 w 85"/>
                <a:gd name="T35" fmla="*/ 28 h 101"/>
                <a:gd name="T36" fmla="*/ 53 w 85"/>
                <a:gd name="T37" fmla="*/ 26 h 101"/>
                <a:gd name="T38" fmla="*/ 46 w 85"/>
                <a:gd name="T39" fmla="*/ 25 h 101"/>
                <a:gd name="T40" fmla="*/ 37 w 85"/>
                <a:gd name="T41" fmla="*/ 26 h 101"/>
                <a:gd name="T42" fmla="*/ 31 w 85"/>
                <a:gd name="T43" fmla="*/ 32 h 101"/>
                <a:gd name="T44" fmla="*/ 27 w 85"/>
                <a:gd name="T45" fmla="*/ 40 h 101"/>
                <a:gd name="T46" fmla="*/ 26 w 85"/>
                <a:gd name="T47" fmla="*/ 51 h 101"/>
                <a:gd name="T48" fmla="*/ 27 w 85"/>
                <a:gd name="T49" fmla="*/ 61 h 101"/>
                <a:gd name="T50" fmla="*/ 31 w 85"/>
                <a:gd name="T51" fmla="*/ 69 h 101"/>
                <a:gd name="T52" fmla="*/ 37 w 85"/>
                <a:gd name="T53" fmla="*/ 75 h 101"/>
                <a:gd name="T54" fmla="*/ 46 w 85"/>
                <a:gd name="T55" fmla="*/ 77 h 101"/>
                <a:gd name="T56" fmla="*/ 52 w 85"/>
                <a:gd name="T57" fmla="*/ 76 h 101"/>
                <a:gd name="T58" fmla="*/ 58 w 85"/>
                <a:gd name="T59" fmla="*/ 73 h 101"/>
                <a:gd name="T60" fmla="*/ 64 w 85"/>
                <a:gd name="T61" fmla="*/ 69 h 101"/>
                <a:gd name="T62" fmla="*/ 69 w 85"/>
                <a:gd name="T63" fmla="*/ 64 h 101"/>
                <a:gd name="T64" fmla="*/ 85 w 85"/>
                <a:gd name="T65" fmla="*/ 8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5" h="101">
                  <a:moveTo>
                    <a:pt x="85" y="80"/>
                  </a:moveTo>
                  <a:cubicBezTo>
                    <a:pt x="83" y="83"/>
                    <a:pt x="80" y="86"/>
                    <a:pt x="77" y="88"/>
                  </a:cubicBezTo>
                  <a:cubicBezTo>
                    <a:pt x="75" y="91"/>
                    <a:pt x="72" y="93"/>
                    <a:pt x="69" y="95"/>
                  </a:cubicBezTo>
                  <a:cubicBezTo>
                    <a:pt x="65" y="97"/>
                    <a:pt x="62" y="98"/>
                    <a:pt x="58" y="100"/>
                  </a:cubicBezTo>
                  <a:cubicBezTo>
                    <a:pt x="54" y="101"/>
                    <a:pt x="50" y="101"/>
                    <a:pt x="45" y="101"/>
                  </a:cubicBezTo>
                  <a:cubicBezTo>
                    <a:pt x="39" y="101"/>
                    <a:pt x="33" y="100"/>
                    <a:pt x="27" y="98"/>
                  </a:cubicBezTo>
                  <a:cubicBezTo>
                    <a:pt x="22" y="95"/>
                    <a:pt x="17" y="92"/>
                    <a:pt x="13" y="87"/>
                  </a:cubicBezTo>
                  <a:cubicBezTo>
                    <a:pt x="9" y="83"/>
                    <a:pt x="5" y="77"/>
                    <a:pt x="3" y="71"/>
                  </a:cubicBezTo>
                  <a:cubicBezTo>
                    <a:pt x="1" y="65"/>
                    <a:pt x="0" y="58"/>
                    <a:pt x="0" y="51"/>
                  </a:cubicBezTo>
                  <a:cubicBezTo>
                    <a:pt x="0" y="43"/>
                    <a:pt x="1" y="36"/>
                    <a:pt x="3" y="30"/>
                  </a:cubicBezTo>
                  <a:cubicBezTo>
                    <a:pt x="5" y="24"/>
                    <a:pt x="9" y="19"/>
                    <a:pt x="13" y="14"/>
                  </a:cubicBezTo>
                  <a:cubicBezTo>
                    <a:pt x="17" y="10"/>
                    <a:pt x="22" y="6"/>
                    <a:pt x="28" y="4"/>
                  </a:cubicBezTo>
                  <a:cubicBezTo>
                    <a:pt x="33" y="1"/>
                    <a:pt x="39" y="0"/>
                    <a:pt x="46" y="0"/>
                  </a:cubicBezTo>
                  <a:cubicBezTo>
                    <a:pt x="54" y="0"/>
                    <a:pt x="62" y="2"/>
                    <a:pt x="68" y="5"/>
                  </a:cubicBezTo>
                  <a:cubicBezTo>
                    <a:pt x="74" y="9"/>
                    <a:pt x="80" y="14"/>
                    <a:pt x="85" y="21"/>
                  </a:cubicBezTo>
                  <a:cubicBezTo>
                    <a:pt x="68" y="38"/>
                    <a:pt x="68" y="38"/>
                    <a:pt x="68" y="38"/>
                  </a:cubicBezTo>
                  <a:cubicBezTo>
                    <a:pt x="66" y="36"/>
                    <a:pt x="65" y="35"/>
                    <a:pt x="63" y="33"/>
                  </a:cubicBezTo>
                  <a:cubicBezTo>
                    <a:pt x="62" y="31"/>
                    <a:pt x="60" y="30"/>
                    <a:pt x="58" y="28"/>
                  </a:cubicBezTo>
                  <a:cubicBezTo>
                    <a:pt x="57" y="27"/>
                    <a:pt x="55" y="26"/>
                    <a:pt x="53" y="26"/>
                  </a:cubicBezTo>
                  <a:cubicBezTo>
                    <a:pt x="51" y="25"/>
                    <a:pt x="48" y="25"/>
                    <a:pt x="46" y="25"/>
                  </a:cubicBezTo>
                  <a:cubicBezTo>
                    <a:pt x="43" y="25"/>
                    <a:pt x="40" y="25"/>
                    <a:pt x="37" y="26"/>
                  </a:cubicBezTo>
                  <a:cubicBezTo>
                    <a:pt x="35" y="28"/>
                    <a:pt x="33" y="29"/>
                    <a:pt x="31" y="32"/>
                  </a:cubicBezTo>
                  <a:cubicBezTo>
                    <a:pt x="29" y="34"/>
                    <a:pt x="28" y="37"/>
                    <a:pt x="27" y="40"/>
                  </a:cubicBezTo>
                  <a:cubicBezTo>
                    <a:pt x="26" y="43"/>
                    <a:pt x="26" y="47"/>
                    <a:pt x="26" y="51"/>
                  </a:cubicBezTo>
                  <a:cubicBezTo>
                    <a:pt x="26" y="55"/>
                    <a:pt x="26" y="58"/>
                    <a:pt x="27" y="61"/>
                  </a:cubicBezTo>
                  <a:cubicBezTo>
                    <a:pt x="28" y="64"/>
                    <a:pt x="29" y="67"/>
                    <a:pt x="31" y="69"/>
                  </a:cubicBezTo>
                  <a:cubicBezTo>
                    <a:pt x="33" y="72"/>
                    <a:pt x="35" y="73"/>
                    <a:pt x="37" y="75"/>
                  </a:cubicBezTo>
                  <a:cubicBezTo>
                    <a:pt x="40" y="76"/>
                    <a:pt x="43" y="77"/>
                    <a:pt x="46" y="77"/>
                  </a:cubicBezTo>
                  <a:cubicBezTo>
                    <a:pt x="48" y="77"/>
                    <a:pt x="50" y="76"/>
                    <a:pt x="52" y="76"/>
                  </a:cubicBezTo>
                  <a:cubicBezTo>
                    <a:pt x="55" y="75"/>
                    <a:pt x="57" y="74"/>
                    <a:pt x="58" y="73"/>
                  </a:cubicBezTo>
                  <a:cubicBezTo>
                    <a:pt x="60" y="72"/>
                    <a:pt x="62" y="71"/>
                    <a:pt x="64" y="69"/>
                  </a:cubicBezTo>
                  <a:cubicBezTo>
                    <a:pt x="65" y="68"/>
                    <a:pt x="67" y="66"/>
                    <a:pt x="69" y="64"/>
                  </a:cubicBezTo>
                  <a:lnTo>
                    <a:pt x="85" y="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08" name="Freeform 26">
              <a:extLst>
                <a:ext uri="{FF2B5EF4-FFF2-40B4-BE49-F238E27FC236}">
                  <a16:creationId xmlns:a16="http://schemas.microsoft.com/office/drawing/2014/main" id="{91225174-20DB-4A4F-A5BB-9A114EDC0F3E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297911" y="1406980"/>
              <a:ext cx="57529" cy="91524"/>
            </a:xfrm>
            <a:custGeom>
              <a:avLst/>
              <a:gdLst>
                <a:gd name="T0" fmla="*/ 59 w 84"/>
                <a:gd name="T1" fmla="*/ 135 h 135"/>
                <a:gd name="T2" fmla="*/ 59 w 84"/>
                <a:gd name="T3" fmla="*/ 83 h 135"/>
                <a:gd name="T4" fmla="*/ 55 w 84"/>
                <a:gd name="T5" fmla="*/ 66 h 135"/>
                <a:gd name="T6" fmla="*/ 42 w 84"/>
                <a:gd name="T7" fmla="*/ 60 h 135"/>
                <a:gd name="T8" fmla="*/ 35 w 84"/>
                <a:gd name="T9" fmla="*/ 61 h 135"/>
                <a:gd name="T10" fmla="*/ 30 w 84"/>
                <a:gd name="T11" fmla="*/ 65 h 135"/>
                <a:gd name="T12" fmla="*/ 27 w 84"/>
                <a:gd name="T13" fmla="*/ 71 h 135"/>
                <a:gd name="T14" fmla="*/ 25 w 84"/>
                <a:gd name="T15" fmla="*/ 82 h 135"/>
                <a:gd name="T16" fmla="*/ 25 w 84"/>
                <a:gd name="T17" fmla="*/ 135 h 135"/>
                <a:gd name="T18" fmla="*/ 0 w 84"/>
                <a:gd name="T19" fmla="*/ 135 h 135"/>
                <a:gd name="T20" fmla="*/ 0 w 84"/>
                <a:gd name="T21" fmla="*/ 13 h 135"/>
                <a:gd name="T22" fmla="*/ 25 w 84"/>
                <a:gd name="T23" fmla="*/ 0 h 135"/>
                <a:gd name="T24" fmla="*/ 25 w 84"/>
                <a:gd name="T25" fmla="*/ 44 h 135"/>
                <a:gd name="T26" fmla="*/ 29 w 84"/>
                <a:gd name="T27" fmla="*/ 41 h 135"/>
                <a:gd name="T28" fmla="*/ 35 w 84"/>
                <a:gd name="T29" fmla="*/ 38 h 135"/>
                <a:gd name="T30" fmla="*/ 41 w 84"/>
                <a:gd name="T31" fmla="*/ 37 h 135"/>
                <a:gd name="T32" fmla="*/ 48 w 84"/>
                <a:gd name="T33" fmla="*/ 36 h 135"/>
                <a:gd name="T34" fmla="*/ 64 w 84"/>
                <a:gd name="T35" fmla="*/ 39 h 135"/>
                <a:gd name="T36" fmla="*/ 75 w 84"/>
                <a:gd name="T37" fmla="*/ 48 h 135"/>
                <a:gd name="T38" fmla="*/ 82 w 84"/>
                <a:gd name="T39" fmla="*/ 62 h 135"/>
                <a:gd name="T40" fmla="*/ 84 w 84"/>
                <a:gd name="T41" fmla="*/ 80 h 135"/>
                <a:gd name="T42" fmla="*/ 84 w 84"/>
                <a:gd name="T43" fmla="*/ 135 h 135"/>
                <a:gd name="T44" fmla="*/ 59 w 84"/>
                <a:gd name="T45" fmla="*/ 135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4" h="135">
                  <a:moveTo>
                    <a:pt x="59" y="135"/>
                  </a:moveTo>
                  <a:cubicBezTo>
                    <a:pt x="59" y="83"/>
                    <a:pt x="59" y="83"/>
                    <a:pt x="59" y="83"/>
                  </a:cubicBezTo>
                  <a:cubicBezTo>
                    <a:pt x="59" y="75"/>
                    <a:pt x="57" y="69"/>
                    <a:pt x="55" y="66"/>
                  </a:cubicBezTo>
                  <a:cubicBezTo>
                    <a:pt x="52" y="62"/>
                    <a:pt x="48" y="60"/>
                    <a:pt x="42" y="60"/>
                  </a:cubicBezTo>
                  <a:cubicBezTo>
                    <a:pt x="39" y="60"/>
                    <a:pt x="37" y="60"/>
                    <a:pt x="35" y="61"/>
                  </a:cubicBezTo>
                  <a:cubicBezTo>
                    <a:pt x="33" y="62"/>
                    <a:pt x="31" y="63"/>
                    <a:pt x="30" y="65"/>
                  </a:cubicBezTo>
                  <a:cubicBezTo>
                    <a:pt x="28" y="66"/>
                    <a:pt x="27" y="69"/>
                    <a:pt x="27" y="71"/>
                  </a:cubicBezTo>
                  <a:cubicBezTo>
                    <a:pt x="26" y="74"/>
                    <a:pt x="25" y="78"/>
                    <a:pt x="25" y="82"/>
                  </a:cubicBezTo>
                  <a:cubicBezTo>
                    <a:pt x="25" y="135"/>
                    <a:pt x="25" y="135"/>
                    <a:pt x="25" y="135"/>
                  </a:cubicBezTo>
                  <a:cubicBezTo>
                    <a:pt x="0" y="135"/>
                    <a:pt x="0" y="135"/>
                    <a:pt x="0" y="135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44"/>
                    <a:pt x="25" y="44"/>
                    <a:pt x="25" y="44"/>
                  </a:cubicBezTo>
                  <a:cubicBezTo>
                    <a:pt x="27" y="43"/>
                    <a:pt x="28" y="42"/>
                    <a:pt x="29" y="41"/>
                  </a:cubicBezTo>
                  <a:cubicBezTo>
                    <a:pt x="31" y="40"/>
                    <a:pt x="33" y="39"/>
                    <a:pt x="35" y="38"/>
                  </a:cubicBezTo>
                  <a:cubicBezTo>
                    <a:pt x="37" y="38"/>
                    <a:pt x="39" y="37"/>
                    <a:pt x="41" y="37"/>
                  </a:cubicBezTo>
                  <a:cubicBezTo>
                    <a:pt x="43" y="36"/>
                    <a:pt x="46" y="36"/>
                    <a:pt x="48" y="36"/>
                  </a:cubicBezTo>
                  <a:cubicBezTo>
                    <a:pt x="54" y="36"/>
                    <a:pt x="60" y="37"/>
                    <a:pt x="64" y="39"/>
                  </a:cubicBezTo>
                  <a:cubicBezTo>
                    <a:pt x="69" y="41"/>
                    <a:pt x="73" y="44"/>
                    <a:pt x="75" y="48"/>
                  </a:cubicBezTo>
                  <a:cubicBezTo>
                    <a:pt x="78" y="52"/>
                    <a:pt x="81" y="56"/>
                    <a:pt x="82" y="62"/>
                  </a:cubicBezTo>
                  <a:cubicBezTo>
                    <a:pt x="83" y="67"/>
                    <a:pt x="84" y="74"/>
                    <a:pt x="84" y="80"/>
                  </a:cubicBezTo>
                  <a:cubicBezTo>
                    <a:pt x="84" y="135"/>
                    <a:pt x="84" y="135"/>
                    <a:pt x="84" y="135"/>
                  </a:cubicBezTo>
                  <a:lnTo>
                    <a:pt x="59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09" name="Freeform 27">
              <a:extLst>
                <a:ext uri="{FF2B5EF4-FFF2-40B4-BE49-F238E27FC236}">
                  <a16:creationId xmlns:a16="http://schemas.microsoft.com/office/drawing/2014/main" id="{43682DD6-D2ED-4863-B27B-40F3CBE0E381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372438" y="1406980"/>
              <a:ext cx="16998" cy="91524"/>
            </a:xfrm>
            <a:custGeom>
              <a:avLst/>
              <a:gdLst>
                <a:gd name="T0" fmla="*/ 0 w 13"/>
                <a:gd name="T1" fmla="*/ 70 h 70"/>
                <a:gd name="T2" fmla="*/ 0 w 13"/>
                <a:gd name="T3" fmla="*/ 6 h 70"/>
                <a:gd name="T4" fmla="*/ 13 w 13"/>
                <a:gd name="T5" fmla="*/ 0 h 70"/>
                <a:gd name="T6" fmla="*/ 13 w 13"/>
                <a:gd name="T7" fmla="*/ 70 h 70"/>
                <a:gd name="T8" fmla="*/ 0 w 13"/>
                <a:gd name="T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70">
                  <a:moveTo>
                    <a:pt x="0" y="70"/>
                  </a:moveTo>
                  <a:lnTo>
                    <a:pt x="0" y="6"/>
                  </a:lnTo>
                  <a:lnTo>
                    <a:pt x="13" y="0"/>
                  </a:lnTo>
                  <a:lnTo>
                    <a:pt x="13" y="70"/>
                  </a:lnTo>
                  <a:lnTo>
                    <a:pt x="0" y="7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10" name="Freeform 28">
              <a:extLst>
                <a:ext uri="{FF2B5EF4-FFF2-40B4-BE49-F238E27FC236}">
                  <a16:creationId xmlns:a16="http://schemas.microsoft.com/office/drawing/2014/main" id="{3D572001-B851-4D74-9AAD-13EE61D916F6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10403818" y="1430515"/>
              <a:ext cx="57529" cy="69297"/>
            </a:xfrm>
            <a:custGeom>
              <a:avLst/>
              <a:gdLst>
                <a:gd name="T0" fmla="*/ 58 w 83"/>
                <a:gd name="T1" fmla="*/ 99 h 101"/>
                <a:gd name="T2" fmla="*/ 58 w 83"/>
                <a:gd name="T3" fmla="*/ 93 h 101"/>
                <a:gd name="T4" fmla="*/ 54 w 83"/>
                <a:gd name="T5" fmla="*/ 96 h 101"/>
                <a:gd name="T6" fmla="*/ 49 w 83"/>
                <a:gd name="T7" fmla="*/ 99 h 101"/>
                <a:gd name="T8" fmla="*/ 42 w 83"/>
                <a:gd name="T9" fmla="*/ 101 h 101"/>
                <a:gd name="T10" fmla="*/ 36 w 83"/>
                <a:gd name="T11" fmla="*/ 101 h 101"/>
                <a:gd name="T12" fmla="*/ 23 w 83"/>
                <a:gd name="T13" fmla="*/ 99 h 101"/>
                <a:gd name="T14" fmla="*/ 11 w 83"/>
                <a:gd name="T15" fmla="*/ 93 h 101"/>
                <a:gd name="T16" fmla="*/ 3 w 83"/>
                <a:gd name="T17" fmla="*/ 82 h 101"/>
                <a:gd name="T18" fmla="*/ 0 w 83"/>
                <a:gd name="T19" fmla="*/ 67 h 101"/>
                <a:gd name="T20" fmla="*/ 3 w 83"/>
                <a:gd name="T21" fmla="*/ 53 h 101"/>
                <a:gd name="T22" fmla="*/ 11 w 83"/>
                <a:gd name="T23" fmla="*/ 42 h 101"/>
                <a:gd name="T24" fmla="*/ 24 w 83"/>
                <a:gd name="T25" fmla="*/ 36 h 101"/>
                <a:gd name="T26" fmla="*/ 39 w 83"/>
                <a:gd name="T27" fmla="*/ 34 h 101"/>
                <a:gd name="T28" fmla="*/ 50 w 83"/>
                <a:gd name="T29" fmla="*/ 36 h 101"/>
                <a:gd name="T30" fmla="*/ 58 w 83"/>
                <a:gd name="T31" fmla="*/ 38 h 101"/>
                <a:gd name="T32" fmla="*/ 58 w 83"/>
                <a:gd name="T33" fmla="*/ 33 h 101"/>
                <a:gd name="T34" fmla="*/ 54 w 83"/>
                <a:gd name="T35" fmla="*/ 25 h 101"/>
                <a:gd name="T36" fmla="*/ 44 w 83"/>
                <a:gd name="T37" fmla="*/ 21 h 101"/>
                <a:gd name="T38" fmla="*/ 30 w 83"/>
                <a:gd name="T39" fmla="*/ 22 h 101"/>
                <a:gd name="T40" fmla="*/ 17 w 83"/>
                <a:gd name="T41" fmla="*/ 27 h 101"/>
                <a:gd name="T42" fmla="*/ 7 w 83"/>
                <a:gd name="T43" fmla="*/ 10 h 101"/>
                <a:gd name="T44" fmla="*/ 25 w 83"/>
                <a:gd name="T45" fmla="*/ 2 h 101"/>
                <a:gd name="T46" fmla="*/ 44 w 83"/>
                <a:gd name="T47" fmla="*/ 0 h 101"/>
                <a:gd name="T48" fmla="*/ 60 w 83"/>
                <a:gd name="T49" fmla="*/ 2 h 101"/>
                <a:gd name="T50" fmla="*/ 72 w 83"/>
                <a:gd name="T51" fmla="*/ 9 h 101"/>
                <a:gd name="T52" fmla="*/ 80 w 83"/>
                <a:gd name="T53" fmla="*/ 19 h 101"/>
                <a:gd name="T54" fmla="*/ 83 w 83"/>
                <a:gd name="T55" fmla="*/ 34 h 101"/>
                <a:gd name="T56" fmla="*/ 83 w 83"/>
                <a:gd name="T57" fmla="*/ 99 h 101"/>
                <a:gd name="T58" fmla="*/ 58 w 83"/>
                <a:gd name="T59" fmla="*/ 99 h 101"/>
                <a:gd name="T60" fmla="*/ 58 w 83"/>
                <a:gd name="T61" fmla="*/ 58 h 101"/>
                <a:gd name="T62" fmla="*/ 54 w 83"/>
                <a:gd name="T63" fmla="*/ 57 h 101"/>
                <a:gd name="T64" fmla="*/ 51 w 83"/>
                <a:gd name="T65" fmla="*/ 55 h 101"/>
                <a:gd name="T66" fmla="*/ 46 w 83"/>
                <a:gd name="T67" fmla="*/ 55 h 101"/>
                <a:gd name="T68" fmla="*/ 40 w 83"/>
                <a:gd name="T69" fmla="*/ 54 h 101"/>
                <a:gd name="T70" fmla="*/ 29 w 83"/>
                <a:gd name="T71" fmla="*/ 58 h 101"/>
                <a:gd name="T72" fmla="*/ 25 w 83"/>
                <a:gd name="T73" fmla="*/ 67 h 101"/>
                <a:gd name="T74" fmla="*/ 26 w 83"/>
                <a:gd name="T75" fmla="*/ 71 h 101"/>
                <a:gd name="T76" fmla="*/ 28 w 83"/>
                <a:gd name="T77" fmla="*/ 76 h 101"/>
                <a:gd name="T78" fmla="*/ 33 w 83"/>
                <a:gd name="T79" fmla="*/ 78 h 101"/>
                <a:gd name="T80" fmla="*/ 40 w 83"/>
                <a:gd name="T81" fmla="*/ 80 h 101"/>
                <a:gd name="T82" fmla="*/ 46 w 83"/>
                <a:gd name="T83" fmla="*/ 79 h 101"/>
                <a:gd name="T84" fmla="*/ 51 w 83"/>
                <a:gd name="T85" fmla="*/ 77 h 101"/>
                <a:gd name="T86" fmla="*/ 55 w 83"/>
                <a:gd name="T87" fmla="*/ 74 h 101"/>
                <a:gd name="T88" fmla="*/ 58 w 83"/>
                <a:gd name="T89" fmla="*/ 71 h 101"/>
                <a:gd name="T90" fmla="*/ 58 w 83"/>
                <a:gd name="T91" fmla="*/ 5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83" h="101">
                  <a:moveTo>
                    <a:pt x="58" y="99"/>
                  </a:moveTo>
                  <a:cubicBezTo>
                    <a:pt x="58" y="93"/>
                    <a:pt x="58" y="93"/>
                    <a:pt x="58" y="93"/>
                  </a:cubicBezTo>
                  <a:cubicBezTo>
                    <a:pt x="57" y="94"/>
                    <a:pt x="55" y="95"/>
                    <a:pt x="54" y="96"/>
                  </a:cubicBezTo>
                  <a:cubicBezTo>
                    <a:pt x="52" y="97"/>
                    <a:pt x="51" y="98"/>
                    <a:pt x="49" y="99"/>
                  </a:cubicBezTo>
                  <a:cubicBezTo>
                    <a:pt x="47" y="100"/>
                    <a:pt x="44" y="100"/>
                    <a:pt x="42" y="101"/>
                  </a:cubicBezTo>
                  <a:cubicBezTo>
                    <a:pt x="40" y="101"/>
                    <a:pt x="38" y="101"/>
                    <a:pt x="36" y="101"/>
                  </a:cubicBezTo>
                  <a:cubicBezTo>
                    <a:pt x="31" y="101"/>
                    <a:pt x="27" y="100"/>
                    <a:pt x="23" y="99"/>
                  </a:cubicBezTo>
                  <a:cubicBezTo>
                    <a:pt x="18" y="98"/>
                    <a:pt x="14" y="96"/>
                    <a:pt x="11" y="93"/>
                  </a:cubicBezTo>
                  <a:cubicBezTo>
                    <a:pt x="8" y="90"/>
                    <a:pt x="5" y="86"/>
                    <a:pt x="3" y="82"/>
                  </a:cubicBezTo>
                  <a:cubicBezTo>
                    <a:pt x="1" y="78"/>
                    <a:pt x="0" y="73"/>
                    <a:pt x="0" y="67"/>
                  </a:cubicBezTo>
                  <a:cubicBezTo>
                    <a:pt x="0" y="61"/>
                    <a:pt x="1" y="57"/>
                    <a:pt x="3" y="53"/>
                  </a:cubicBezTo>
                  <a:cubicBezTo>
                    <a:pt x="5" y="48"/>
                    <a:pt x="8" y="45"/>
                    <a:pt x="11" y="42"/>
                  </a:cubicBezTo>
                  <a:cubicBezTo>
                    <a:pt x="15" y="40"/>
                    <a:pt x="19" y="38"/>
                    <a:pt x="24" y="36"/>
                  </a:cubicBezTo>
                  <a:cubicBezTo>
                    <a:pt x="28" y="35"/>
                    <a:pt x="33" y="34"/>
                    <a:pt x="39" y="34"/>
                  </a:cubicBezTo>
                  <a:cubicBezTo>
                    <a:pt x="43" y="34"/>
                    <a:pt x="47" y="35"/>
                    <a:pt x="50" y="36"/>
                  </a:cubicBezTo>
                  <a:cubicBezTo>
                    <a:pt x="53" y="36"/>
                    <a:pt x="56" y="37"/>
                    <a:pt x="58" y="38"/>
                  </a:cubicBezTo>
                  <a:cubicBezTo>
                    <a:pt x="58" y="33"/>
                    <a:pt x="58" y="33"/>
                    <a:pt x="58" y="33"/>
                  </a:cubicBezTo>
                  <a:cubicBezTo>
                    <a:pt x="58" y="30"/>
                    <a:pt x="56" y="27"/>
                    <a:pt x="54" y="25"/>
                  </a:cubicBezTo>
                  <a:cubicBezTo>
                    <a:pt x="52" y="22"/>
                    <a:pt x="48" y="21"/>
                    <a:pt x="44" y="21"/>
                  </a:cubicBezTo>
                  <a:cubicBezTo>
                    <a:pt x="38" y="21"/>
                    <a:pt x="33" y="21"/>
                    <a:pt x="30" y="22"/>
                  </a:cubicBezTo>
                  <a:cubicBezTo>
                    <a:pt x="26" y="23"/>
                    <a:pt x="22" y="25"/>
                    <a:pt x="17" y="27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14" y="6"/>
                    <a:pt x="19" y="4"/>
                    <a:pt x="25" y="2"/>
                  </a:cubicBezTo>
                  <a:cubicBezTo>
                    <a:pt x="30" y="1"/>
                    <a:pt x="37" y="0"/>
                    <a:pt x="44" y="0"/>
                  </a:cubicBezTo>
                  <a:cubicBezTo>
                    <a:pt x="50" y="0"/>
                    <a:pt x="55" y="1"/>
                    <a:pt x="60" y="2"/>
                  </a:cubicBezTo>
                  <a:cubicBezTo>
                    <a:pt x="65" y="4"/>
                    <a:pt x="69" y="6"/>
                    <a:pt x="72" y="9"/>
                  </a:cubicBezTo>
                  <a:cubicBezTo>
                    <a:pt x="76" y="12"/>
                    <a:pt x="79" y="15"/>
                    <a:pt x="80" y="19"/>
                  </a:cubicBezTo>
                  <a:cubicBezTo>
                    <a:pt x="82" y="24"/>
                    <a:pt x="83" y="29"/>
                    <a:pt x="83" y="34"/>
                  </a:cubicBezTo>
                  <a:cubicBezTo>
                    <a:pt x="83" y="99"/>
                    <a:pt x="83" y="99"/>
                    <a:pt x="83" y="99"/>
                  </a:cubicBezTo>
                  <a:lnTo>
                    <a:pt x="58" y="99"/>
                  </a:lnTo>
                  <a:close/>
                  <a:moveTo>
                    <a:pt x="58" y="58"/>
                  </a:moveTo>
                  <a:cubicBezTo>
                    <a:pt x="57" y="58"/>
                    <a:pt x="55" y="57"/>
                    <a:pt x="54" y="57"/>
                  </a:cubicBezTo>
                  <a:cubicBezTo>
                    <a:pt x="53" y="56"/>
                    <a:pt x="52" y="56"/>
                    <a:pt x="51" y="55"/>
                  </a:cubicBezTo>
                  <a:cubicBezTo>
                    <a:pt x="49" y="55"/>
                    <a:pt x="48" y="55"/>
                    <a:pt x="46" y="55"/>
                  </a:cubicBezTo>
                  <a:cubicBezTo>
                    <a:pt x="44" y="54"/>
                    <a:pt x="42" y="54"/>
                    <a:pt x="40" y="54"/>
                  </a:cubicBezTo>
                  <a:cubicBezTo>
                    <a:pt x="35" y="54"/>
                    <a:pt x="31" y="55"/>
                    <a:pt x="29" y="58"/>
                  </a:cubicBezTo>
                  <a:cubicBezTo>
                    <a:pt x="26" y="60"/>
                    <a:pt x="25" y="63"/>
                    <a:pt x="25" y="67"/>
                  </a:cubicBezTo>
                  <a:cubicBezTo>
                    <a:pt x="25" y="68"/>
                    <a:pt x="25" y="70"/>
                    <a:pt x="26" y="71"/>
                  </a:cubicBezTo>
                  <a:cubicBezTo>
                    <a:pt x="26" y="73"/>
                    <a:pt x="27" y="74"/>
                    <a:pt x="28" y="76"/>
                  </a:cubicBezTo>
                  <a:cubicBezTo>
                    <a:pt x="30" y="77"/>
                    <a:pt x="31" y="78"/>
                    <a:pt x="33" y="78"/>
                  </a:cubicBezTo>
                  <a:cubicBezTo>
                    <a:pt x="35" y="79"/>
                    <a:pt x="37" y="80"/>
                    <a:pt x="40" y="80"/>
                  </a:cubicBezTo>
                  <a:cubicBezTo>
                    <a:pt x="42" y="80"/>
                    <a:pt x="44" y="79"/>
                    <a:pt x="46" y="79"/>
                  </a:cubicBezTo>
                  <a:cubicBezTo>
                    <a:pt x="48" y="78"/>
                    <a:pt x="49" y="78"/>
                    <a:pt x="51" y="77"/>
                  </a:cubicBezTo>
                  <a:cubicBezTo>
                    <a:pt x="52" y="76"/>
                    <a:pt x="54" y="75"/>
                    <a:pt x="55" y="74"/>
                  </a:cubicBezTo>
                  <a:cubicBezTo>
                    <a:pt x="56" y="73"/>
                    <a:pt x="57" y="72"/>
                    <a:pt x="58" y="71"/>
                  </a:cubicBezTo>
                  <a:lnTo>
                    <a:pt x="58" y="5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11" name="Freeform 29">
              <a:extLst>
                <a:ext uri="{FF2B5EF4-FFF2-40B4-BE49-F238E27FC236}">
                  <a16:creationId xmlns:a16="http://schemas.microsoft.com/office/drawing/2014/main" id="{A827519A-33F0-4CCB-AE07-C95A795FF2FB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477037" y="1430515"/>
              <a:ext cx="57529" cy="67989"/>
            </a:xfrm>
            <a:custGeom>
              <a:avLst/>
              <a:gdLst>
                <a:gd name="T0" fmla="*/ 59 w 84"/>
                <a:gd name="T1" fmla="*/ 99 h 99"/>
                <a:gd name="T2" fmla="*/ 59 w 84"/>
                <a:gd name="T3" fmla="*/ 47 h 99"/>
                <a:gd name="T4" fmla="*/ 55 w 84"/>
                <a:gd name="T5" fmla="*/ 30 h 99"/>
                <a:gd name="T6" fmla="*/ 42 w 84"/>
                <a:gd name="T7" fmla="*/ 24 h 99"/>
                <a:gd name="T8" fmla="*/ 35 w 84"/>
                <a:gd name="T9" fmla="*/ 25 h 99"/>
                <a:gd name="T10" fmla="*/ 30 w 84"/>
                <a:gd name="T11" fmla="*/ 29 h 99"/>
                <a:gd name="T12" fmla="*/ 27 w 84"/>
                <a:gd name="T13" fmla="*/ 35 h 99"/>
                <a:gd name="T14" fmla="*/ 26 w 84"/>
                <a:gd name="T15" fmla="*/ 46 h 99"/>
                <a:gd name="T16" fmla="*/ 26 w 84"/>
                <a:gd name="T17" fmla="*/ 99 h 99"/>
                <a:gd name="T18" fmla="*/ 0 w 84"/>
                <a:gd name="T19" fmla="*/ 99 h 99"/>
                <a:gd name="T20" fmla="*/ 0 w 84"/>
                <a:gd name="T21" fmla="*/ 2 h 99"/>
                <a:gd name="T22" fmla="*/ 26 w 84"/>
                <a:gd name="T23" fmla="*/ 2 h 99"/>
                <a:gd name="T24" fmla="*/ 26 w 84"/>
                <a:gd name="T25" fmla="*/ 8 h 99"/>
                <a:gd name="T26" fmla="*/ 30 w 84"/>
                <a:gd name="T27" fmla="*/ 5 h 99"/>
                <a:gd name="T28" fmla="*/ 35 w 84"/>
                <a:gd name="T29" fmla="*/ 2 h 99"/>
                <a:gd name="T30" fmla="*/ 41 w 84"/>
                <a:gd name="T31" fmla="*/ 1 h 99"/>
                <a:gd name="T32" fmla="*/ 48 w 84"/>
                <a:gd name="T33" fmla="*/ 0 h 99"/>
                <a:gd name="T34" fmla="*/ 64 w 84"/>
                <a:gd name="T35" fmla="*/ 3 h 99"/>
                <a:gd name="T36" fmla="*/ 76 w 84"/>
                <a:gd name="T37" fmla="*/ 12 h 99"/>
                <a:gd name="T38" fmla="*/ 82 w 84"/>
                <a:gd name="T39" fmla="*/ 26 h 99"/>
                <a:gd name="T40" fmla="*/ 84 w 84"/>
                <a:gd name="T41" fmla="*/ 44 h 99"/>
                <a:gd name="T42" fmla="*/ 84 w 84"/>
                <a:gd name="T43" fmla="*/ 99 h 99"/>
                <a:gd name="T44" fmla="*/ 59 w 84"/>
                <a:gd name="T45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4" h="99">
                  <a:moveTo>
                    <a:pt x="59" y="99"/>
                  </a:moveTo>
                  <a:cubicBezTo>
                    <a:pt x="59" y="47"/>
                    <a:pt x="59" y="47"/>
                    <a:pt x="59" y="47"/>
                  </a:cubicBezTo>
                  <a:cubicBezTo>
                    <a:pt x="59" y="39"/>
                    <a:pt x="58" y="33"/>
                    <a:pt x="55" y="30"/>
                  </a:cubicBezTo>
                  <a:cubicBezTo>
                    <a:pt x="53" y="26"/>
                    <a:pt x="48" y="24"/>
                    <a:pt x="42" y="24"/>
                  </a:cubicBezTo>
                  <a:cubicBezTo>
                    <a:pt x="40" y="24"/>
                    <a:pt x="37" y="24"/>
                    <a:pt x="35" y="25"/>
                  </a:cubicBezTo>
                  <a:cubicBezTo>
                    <a:pt x="33" y="26"/>
                    <a:pt x="31" y="27"/>
                    <a:pt x="30" y="29"/>
                  </a:cubicBezTo>
                  <a:cubicBezTo>
                    <a:pt x="29" y="30"/>
                    <a:pt x="28" y="33"/>
                    <a:pt x="27" y="35"/>
                  </a:cubicBezTo>
                  <a:cubicBezTo>
                    <a:pt x="26" y="38"/>
                    <a:pt x="26" y="42"/>
                    <a:pt x="26" y="46"/>
                  </a:cubicBezTo>
                  <a:cubicBezTo>
                    <a:pt x="26" y="99"/>
                    <a:pt x="26" y="99"/>
                    <a:pt x="26" y="99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7" y="7"/>
                    <a:pt x="28" y="6"/>
                    <a:pt x="30" y="5"/>
                  </a:cubicBezTo>
                  <a:cubicBezTo>
                    <a:pt x="31" y="4"/>
                    <a:pt x="33" y="3"/>
                    <a:pt x="35" y="2"/>
                  </a:cubicBezTo>
                  <a:cubicBezTo>
                    <a:pt x="37" y="2"/>
                    <a:pt x="39" y="1"/>
                    <a:pt x="41" y="1"/>
                  </a:cubicBezTo>
                  <a:cubicBezTo>
                    <a:pt x="44" y="0"/>
                    <a:pt x="46" y="0"/>
                    <a:pt x="48" y="0"/>
                  </a:cubicBezTo>
                  <a:cubicBezTo>
                    <a:pt x="55" y="0"/>
                    <a:pt x="60" y="1"/>
                    <a:pt x="64" y="3"/>
                  </a:cubicBezTo>
                  <a:cubicBezTo>
                    <a:pt x="69" y="5"/>
                    <a:pt x="73" y="8"/>
                    <a:pt x="76" y="12"/>
                  </a:cubicBezTo>
                  <a:cubicBezTo>
                    <a:pt x="79" y="16"/>
                    <a:pt x="81" y="20"/>
                    <a:pt x="82" y="26"/>
                  </a:cubicBezTo>
                  <a:cubicBezTo>
                    <a:pt x="84" y="31"/>
                    <a:pt x="84" y="38"/>
                    <a:pt x="84" y="44"/>
                  </a:cubicBezTo>
                  <a:cubicBezTo>
                    <a:pt x="84" y="99"/>
                    <a:pt x="84" y="99"/>
                    <a:pt x="84" y="99"/>
                  </a:cubicBezTo>
                  <a:lnTo>
                    <a:pt x="59" y="9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12" name="Freeform 30">
              <a:extLst>
                <a:ext uri="{FF2B5EF4-FFF2-40B4-BE49-F238E27FC236}">
                  <a16:creationId xmlns:a16="http://schemas.microsoft.com/office/drawing/2014/main" id="{4BC09A9F-8959-48BA-9B94-7840D333316F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10547642" y="1406980"/>
              <a:ext cx="57529" cy="92832"/>
            </a:xfrm>
            <a:custGeom>
              <a:avLst/>
              <a:gdLst>
                <a:gd name="T0" fmla="*/ 58 w 84"/>
                <a:gd name="T1" fmla="*/ 135 h 137"/>
                <a:gd name="T2" fmla="*/ 58 w 84"/>
                <a:gd name="T3" fmla="*/ 129 h 137"/>
                <a:gd name="T4" fmla="*/ 55 w 84"/>
                <a:gd name="T5" fmla="*/ 132 h 137"/>
                <a:gd name="T6" fmla="*/ 50 w 84"/>
                <a:gd name="T7" fmla="*/ 135 h 137"/>
                <a:gd name="T8" fmla="*/ 45 w 84"/>
                <a:gd name="T9" fmla="*/ 137 h 137"/>
                <a:gd name="T10" fmla="*/ 38 w 84"/>
                <a:gd name="T11" fmla="*/ 137 h 137"/>
                <a:gd name="T12" fmla="*/ 23 w 84"/>
                <a:gd name="T13" fmla="*/ 134 h 137"/>
                <a:gd name="T14" fmla="*/ 11 w 84"/>
                <a:gd name="T15" fmla="*/ 125 h 137"/>
                <a:gd name="T16" fmla="*/ 3 w 84"/>
                <a:gd name="T17" fmla="*/ 109 h 137"/>
                <a:gd name="T18" fmla="*/ 0 w 84"/>
                <a:gd name="T19" fmla="*/ 85 h 137"/>
                <a:gd name="T20" fmla="*/ 3 w 84"/>
                <a:gd name="T21" fmla="*/ 65 h 137"/>
                <a:gd name="T22" fmla="*/ 10 w 84"/>
                <a:gd name="T23" fmla="*/ 50 h 137"/>
                <a:gd name="T24" fmla="*/ 22 w 84"/>
                <a:gd name="T25" fmla="*/ 40 h 137"/>
                <a:gd name="T26" fmla="*/ 38 w 84"/>
                <a:gd name="T27" fmla="*/ 36 h 137"/>
                <a:gd name="T28" fmla="*/ 44 w 84"/>
                <a:gd name="T29" fmla="*/ 36 h 137"/>
                <a:gd name="T30" fmla="*/ 50 w 84"/>
                <a:gd name="T31" fmla="*/ 38 h 137"/>
                <a:gd name="T32" fmla="*/ 55 w 84"/>
                <a:gd name="T33" fmla="*/ 41 h 137"/>
                <a:gd name="T34" fmla="*/ 58 w 84"/>
                <a:gd name="T35" fmla="*/ 44 h 137"/>
                <a:gd name="T36" fmla="*/ 58 w 84"/>
                <a:gd name="T37" fmla="*/ 13 h 137"/>
                <a:gd name="T38" fmla="*/ 84 w 84"/>
                <a:gd name="T39" fmla="*/ 0 h 137"/>
                <a:gd name="T40" fmla="*/ 84 w 84"/>
                <a:gd name="T41" fmla="*/ 135 h 137"/>
                <a:gd name="T42" fmla="*/ 58 w 84"/>
                <a:gd name="T43" fmla="*/ 135 h 137"/>
                <a:gd name="T44" fmla="*/ 58 w 84"/>
                <a:gd name="T45" fmla="*/ 68 h 137"/>
                <a:gd name="T46" fmla="*/ 55 w 84"/>
                <a:gd name="T47" fmla="*/ 65 h 137"/>
                <a:gd name="T48" fmla="*/ 52 w 84"/>
                <a:gd name="T49" fmla="*/ 62 h 137"/>
                <a:gd name="T50" fmla="*/ 47 w 84"/>
                <a:gd name="T51" fmla="*/ 61 h 137"/>
                <a:gd name="T52" fmla="*/ 41 w 84"/>
                <a:gd name="T53" fmla="*/ 60 h 137"/>
                <a:gd name="T54" fmla="*/ 30 w 84"/>
                <a:gd name="T55" fmla="*/ 66 h 137"/>
                <a:gd name="T56" fmla="*/ 26 w 84"/>
                <a:gd name="T57" fmla="*/ 85 h 137"/>
                <a:gd name="T58" fmla="*/ 27 w 84"/>
                <a:gd name="T59" fmla="*/ 98 h 137"/>
                <a:gd name="T60" fmla="*/ 31 w 84"/>
                <a:gd name="T61" fmla="*/ 106 h 137"/>
                <a:gd name="T62" fmla="*/ 36 w 84"/>
                <a:gd name="T63" fmla="*/ 111 h 137"/>
                <a:gd name="T64" fmla="*/ 43 w 84"/>
                <a:gd name="T65" fmla="*/ 113 h 137"/>
                <a:gd name="T66" fmla="*/ 48 w 84"/>
                <a:gd name="T67" fmla="*/ 112 h 137"/>
                <a:gd name="T68" fmla="*/ 52 w 84"/>
                <a:gd name="T69" fmla="*/ 111 h 137"/>
                <a:gd name="T70" fmla="*/ 56 w 84"/>
                <a:gd name="T71" fmla="*/ 108 h 137"/>
                <a:gd name="T72" fmla="*/ 58 w 84"/>
                <a:gd name="T73" fmla="*/ 105 h 137"/>
                <a:gd name="T74" fmla="*/ 58 w 84"/>
                <a:gd name="T75" fmla="*/ 68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4" h="137">
                  <a:moveTo>
                    <a:pt x="58" y="135"/>
                  </a:moveTo>
                  <a:cubicBezTo>
                    <a:pt x="58" y="129"/>
                    <a:pt x="58" y="129"/>
                    <a:pt x="58" y="129"/>
                  </a:cubicBezTo>
                  <a:cubicBezTo>
                    <a:pt x="57" y="130"/>
                    <a:pt x="56" y="131"/>
                    <a:pt x="55" y="132"/>
                  </a:cubicBezTo>
                  <a:cubicBezTo>
                    <a:pt x="53" y="133"/>
                    <a:pt x="52" y="134"/>
                    <a:pt x="50" y="135"/>
                  </a:cubicBezTo>
                  <a:cubicBezTo>
                    <a:pt x="48" y="136"/>
                    <a:pt x="47" y="136"/>
                    <a:pt x="45" y="137"/>
                  </a:cubicBezTo>
                  <a:cubicBezTo>
                    <a:pt x="43" y="137"/>
                    <a:pt x="40" y="137"/>
                    <a:pt x="38" y="137"/>
                  </a:cubicBezTo>
                  <a:cubicBezTo>
                    <a:pt x="33" y="137"/>
                    <a:pt x="28" y="136"/>
                    <a:pt x="23" y="134"/>
                  </a:cubicBezTo>
                  <a:cubicBezTo>
                    <a:pt x="19" y="132"/>
                    <a:pt x="15" y="129"/>
                    <a:pt x="11" y="125"/>
                  </a:cubicBezTo>
                  <a:cubicBezTo>
                    <a:pt x="8" y="121"/>
                    <a:pt x="5" y="115"/>
                    <a:pt x="3" y="109"/>
                  </a:cubicBezTo>
                  <a:cubicBezTo>
                    <a:pt x="1" y="102"/>
                    <a:pt x="0" y="94"/>
                    <a:pt x="0" y="85"/>
                  </a:cubicBezTo>
                  <a:cubicBezTo>
                    <a:pt x="0" y="78"/>
                    <a:pt x="1" y="71"/>
                    <a:pt x="3" y="65"/>
                  </a:cubicBezTo>
                  <a:cubicBezTo>
                    <a:pt x="4" y="59"/>
                    <a:pt x="7" y="54"/>
                    <a:pt x="10" y="50"/>
                  </a:cubicBezTo>
                  <a:cubicBezTo>
                    <a:pt x="13" y="45"/>
                    <a:pt x="17" y="42"/>
                    <a:pt x="22" y="40"/>
                  </a:cubicBezTo>
                  <a:cubicBezTo>
                    <a:pt x="27" y="37"/>
                    <a:pt x="32" y="36"/>
                    <a:pt x="38" y="36"/>
                  </a:cubicBezTo>
                  <a:cubicBezTo>
                    <a:pt x="40" y="36"/>
                    <a:pt x="42" y="36"/>
                    <a:pt x="44" y="36"/>
                  </a:cubicBezTo>
                  <a:cubicBezTo>
                    <a:pt x="46" y="37"/>
                    <a:pt x="48" y="37"/>
                    <a:pt x="50" y="38"/>
                  </a:cubicBezTo>
                  <a:cubicBezTo>
                    <a:pt x="52" y="39"/>
                    <a:pt x="53" y="40"/>
                    <a:pt x="55" y="41"/>
                  </a:cubicBezTo>
                  <a:cubicBezTo>
                    <a:pt x="56" y="42"/>
                    <a:pt x="57" y="42"/>
                    <a:pt x="58" y="44"/>
                  </a:cubicBezTo>
                  <a:cubicBezTo>
                    <a:pt x="58" y="13"/>
                    <a:pt x="58" y="13"/>
                    <a:pt x="58" y="13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135"/>
                    <a:pt x="84" y="135"/>
                    <a:pt x="84" y="135"/>
                  </a:cubicBezTo>
                  <a:lnTo>
                    <a:pt x="58" y="135"/>
                  </a:lnTo>
                  <a:close/>
                  <a:moveTo>
                    <a:pt x="58" y="68"/>
                  </a:moveTo>
                  <a:cubicBezTo>
                    <a:pt x="57" y="67"/>
                    <a:pt x="56" y="66"/>
                    <a:pt x="55" y="65"/>
                  </a:cubicBezTo>
                  <a:cubicBezTo>
                    <a:pt x="54" y="64"/>
                    <a:pt x="53" y="63"/>
                    <a:pt x="52" y="62"/>
                  </a:cubicBezTo>
                  <a:cubicBezTo>
                    <a:pt x="50" y="62"/>
                    <a:pt x="49" y="61"/>
                    <a:pt x="47" y="61"/>
                  </a:cubicBezTo>
                  <a:cubicBezTo>
                    <a:pt x="45" y="60"/>
                    <a:pt x="43" y="60"/>
                    <a:pt x="41" y="60"/>
                  </a:cubicBezTo>
                  <a:cubicBezTo>
                    <a:pt x="36" y="60"/>
                    <a:pt x="33" y="62"/>
                    <a:pt x="30" y="66"/>
                  </a:cubicBezTo>
                  <a:cubicBezTo>
                    <a:pt x="27" y="70"/>
                    <a:pt x="26" y="77"/>
                    <a:pt x="26" y="85"/>
                  </a:cubicBezTo>
                  <a:cubicBezTo>
                    <a:pt x="26" y="90"/>
                    <a:pt x="27" y="94"/>
                    <a:pt x="27" y="98"/>
                  </a:cubicBezTo>
                  <a:cubicBezTo>
                    <a:pt x="28" y="101"/>
                    <a:pt x="29" y="104"/>
                    <a:pt x="31" y="106"/>
                  </a:cubicBezTo>
                  <a:cubicBezTo>
                    <a:pt x="32" y="109"/>
                    <a:pt x="34" y="110"/>
                    <a:pt x="36" y="111"/>
                  </a:cubicBezTo>
                  <a:cubicBezTo>
                    <a:pt x="38" y="113"/>
                    <a:pt x="40" y="113"/>
                    <a:pt x="43" y="113"/>
                  </a:cubicBezTo>
                  <a:cubicBezTo>
                    <a:pt x="45" y="113"/>
                    <a:pt x="46" y="113"/>
                    <a:pt x="48" y="112"/>
                  </a:cubicBezTo>
                  <a:cubicBezTo>
                    <a:pt x="50" y="112"/>
                    <a:pt x="51" y="112"/>
                    <a:pt x="52" y="111"/>
                  </a:cubicBezTo>
                  <a:cubicBezTo>
                    <a:pt x="53" y="110"/>
                    <a:pt x="55" y="109"/>
                    <a:pt x="56" y="108"/>
                  </a:cubicBezTo>
                  <a:cubicBezTo>
                    <a:pt x="57" y="107"/>
                    <a:pt x="58" y="106"/>
                    <a:pt x="58" y="105"/>
                  </a:cubicBezTo>
                  <a:lnTo>
                    <a:pt x="58" y="6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13" name="Freeform 31">
              <a:extLst>
                <a:ext uri="{FF2B5EF4-FFF2-40B4-BE49-F238E27FC236}">
                  <a16:creationId xmlns:a16="http://schemas.microsoft.com/office/drawing/2014/main" id="{125CF3D1-4644-4A4C-A605-6CBB28099392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1214461" y="970279"/>
              <a:ext cx="83679" cy="112444"/>
            </a:xfrm>
            <a:custGeom>
              <a:avLst/>
              <a:gdLst>
                <a:gd name="T0" fmla="*/ 123 w 123"/>
                <a:gd name="T1" fmla="*/ 94 h 165"/>
                <a:gd name="T2" fmla="*/ 107 w 123"/>
                <a:gd name="T3" fmla="*/ 147 h 165"/>
                <a:gd name="T4" fmla="*/ 62 w 123"/>
                <a:gd name="T5" fmla="*/ 165 h 165"/>
                <a:gd name="T6" fmla="*/ 39 w 123"/>
                <a:gd name="T7" fmla="*/ 161 h 165"/>
                <a:gd name="T8" fmla="*/ 22 w 123"/>
                <a:gd name="T9" fmla="*/ 151 h 165"/>
                <a:gd name="T10" fmla="*/ 8 w 123"/>
                <a:gd name="T11" fmla="*/ 136 h 165"/>
                <a:gd name="T12" fmla="*/ 0 w 123"/>
                <a:gd name="T13" fmla="*/ 117 h 165"/>
                <a:gd name="T14" fmla="*/ 31 w 123"/>
                <a:gd name="T15" fmla="*/ 108 h 165"/>
                <a:gd name="T16" fmla="*/ 36 w 123"/>
                <a:gd name="T17" fmla="*/ 119 h 165"/>
                <a:gd name="T18" fmla="*/ 43 w 123"/>
                <a:gd name="T19" fmla="*/ 126 h 165"/>
                <a:gd name="T20" fmla="*/ 51 w 123"/>
                <a:gd name="T21" fmla="*/ 131 h 165"/>
                <a:gd name="T22" fmla="*/ 62 w 123"/>
                <a:gd name="T23" fmla="*/ 132 h 165"/>
                <a:gd name="T24" fmla="*/ 75 w 123"/>
                <a:gd name="T25" fmla="*/ 130 h 165"/>
                <a:gd name="T26" fmla="*/ 84 w 123"/>
                <a:gd name="T27" fmla="*/ 123 h 165"/>
                <a:gd name="T28" fmla="*/ 89 w 123"/>
                <a:gd name="T29" fmla="*/ 111 h 165"/>
                <a:gd name="T30" fmla="*/ 91 w 123"/>
                <a:gd name="T31" fmla="*/ 95 h 165"/>
                <a:gd name="T32" fmla="*/ 91 w 123"/>
                <a:gd name="T33" fmla="*/ 0 h 165"/>
                <a:gd name="T34" fmla="*/ 123 w 123"/>
                <a:gd name="T35" fmla="*/ 0 h 165"/>
                <a:gd name="T36" fmla="*/ 123 w 123"/>
                <a:gd name="T37" fmla="*/ 94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3" h="165">
                  <a:moveTo>
                    <a:pt x="123" y="94"/>
                  </a:moveTo>
                  <a:cubicBezTo>
                    <a:pt x="123" y="117"/>
                    <a:pt x="118" y="135"/>
                    <a:pt x="107" y="147"/>
                  </a:cubicBezTo>
                  <a:cubicBezTo>
                    <a:pt x="97" y="159"/>
                    <a:pt x="81" y="165"/>
                    <a:pt x="62" y="165"/>
                  </a:cubicBezTo>
                  <a:cubicBezTo>
                    <a:pt x="54" y="165"/>
                    <a:pt x="46" y="163"/>
                    <a:pt x="39" y="161"/>
                  </a:cubicBezTo>
                  <a:cubicBezTo>
                    <a:pt x="33" y="159"/>
                    <a:pt x="27" y="155"/>
                    <a:pt x="22" y="151"/>
                  </a:cubicBezTo>
                  <a:cubicBezTo>
                    <a:pt x="16" y="147"/>
                    <a:pt x="12" y="142"/>
                    <a:pt x="8" y="136"/>
                  </a:cubicBezTo>
                  <a:cubicBezTo>
                    <a:pt x="4" y="130"/>
                    <a:pt x="2" y="124"/>
                    <a:pt x="0" y="117"/>
                  </a:cubicBezTo>
                  <a:cubicBezTo>
                    <a:pt x="31" y="108"/>
                    <a:pt x="31" y="108"/>
                    <a:pt x="31" y="108"/>
                  </a:cubicBezTo>
                  <a:cubicBezTo>
                    <a:pt x="33" y="113"/>
                    <a:pt x="35" y="116"/>
                    <a:pt x="36" y="119"/>
                  </a:cubicBezTo>
                  <a:cubicBezTo>
                    <a:pt x="38" y="122"/>
                    <a:pt x="40" y="124"/>
                    <a:pt x="43" y="126"/>
                  </a:cubicBezTo>
                  <a:cubicBezTo>
                    <a:pt x="45" y="128"/>
                    <a:pt x="48" y="130"/>
                    <a:pt x="51" y="131"/>
                  </a:cubicBezTo>
                  <a:cubicBezTo>
                    <a:pt x="54" y="132"/>
                    <a:pt x="58" y="132"/>
                    <a:pt x="62" y="132"/>
                  </a:cubicBezTo>
                  <a:cubicBezTo>
                    <a:pt x="67" y="132"/>
                    <a:pt x="71" y="131"/>
                    <a:pt x="75" y="130"/>
                  </a:cubicBezTo>
                  <a:cubicBezTo>
                    <a:pt x="78" y="128"/>
                    <a:pt x="81" y="126"/>
                    <a:pt x="84" y="123"/>
                  </a:cubicBezTo>
                  <a:cubicBezTo>
                    <a:pt x="86" y="119"/>
                    <a:pt x="88" y="115"/>
                    <a:pt x="89" y="111"/>
                  </a:cubicBezTo>
                  <a:cubicBezTo>
                    <a:pt x="90" y="106"/>
                    <a:pt x="91" y="101"/>
                    <a:pt x="91" y="95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123" y="0"/>
                    <a:pt x="123" y="0"/>
                    <a:pt x="123" y="0"/>
                  </a:cubicBezTo>
                  <a:lnTo>
                    <a:pt x="123" y="9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14" name="Freeform 32">
              <a:extLst>
                <a:ext uri="{FF2B5EF4-FFF2-40B4-BE49-F238E27FC236}">
                  <a16:creationId xmlns:a16="http://schemas.microsoft.com/office/drawing/2014/main" id="{5C66EC1B-AD1B-491B-A19A-A2C96C78BC6A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11312522" y="970279"/>
              <a:ext cx="105907" cy="111137"/>
            </a:xfrm>
            <a:custGeom>
              <a:avLst/>
              <a:gdLst>
                <a:gd name="T0" fmla="*/ 81 w 81"/>
                <a:gd name="T1" fmla="*/ 85 h 85"/>
                <a:gd name="T2" fmla="*/ 63 w 81"/>
                <a:gd name="T3" fmla="*/ 85 h 85"/>
                <a:gd name="T4" fmla="*/ 56 w 81"/>
                <a:gd name="T5" fmla="*/ 66 h 85"/>
                <a:gd name="T6" fmla="*/ 24 w 81"/>
                <a:gd name="T7" fmla="*/ 66 h 85"/>
                <a:gd name="T8" fmla="*/ 18 w 81"/>
                <a:gd name="T9" fmla="*/ 85 h 85"/>
                <a:gd name="T10" fmla="*/ 0 w 81"/>
                <a:gd name="T11" fmla="*/ 85 h 85"/>
                <a:gd name="T12" fmla="*/ 32 w 81"/>
                <a:gd name="T13" fmla="*/ 0 h 85"/>
                <a:gd name="T14" fmla="*/ 49 w 81"/>
                <a:gd name="T15" fmla="*/ 0 h 85"/>
                <a:gd name="T16" fmla="*/ 81 w 81"/>
                <a:gd name="T17" fmla="*/ 85 h 85"/>
                <a:gd name="T18" fmla="*/ 50 w 81"/>
                <a:gd name="T19" fmla="*/ 50 h 85"/>
                <a:gd name="T20" fmla="*/ 40 w 81"/>
                <a:gd name="T21" fmla="*/ 22 h 85"/>
                <a:gd name="T22" fmla="*/ 31 w 81"/>
                <a:gd name="T23" fmla="*/ 50 h 85"/>
                <a:gd name="T24" fmla="*/ 50 w 81"/>
                <a:gd name="T25" fmla="*/ 5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1" h="85">
                  <a:moveTo>
                    <a:pt x="81" y="85"/>
                  </a:moveTo>
                  <a:lnTo>
                    <a:pt x="63" y="85"/>
                  </a:lnTo>
                  <a:lnTo>
                    <a:pt x="56" y="66"/>
                  </a:lnTo>
                  <a:lnTo>
                    <a:pt x="24" y="66"/>
                  </a:lnTo>
                  <a:lnTo>
                    <a:pt x="18" y="85"/>
                  </a:lnTo>
                  <a:lnTo>
                    <a:pt x="0" y="85"/>
                  </a:lnTo>
                  <a:lnTo>
                    <a:pt x="32" y="0"/>
                  </a:lnTo>
                  <a:lnTo>
                    <a:pt x="49" y="0"/>
                  </a:lnTo>
                  <a:lnTo>
                    <a:pt x="81" y="85"/>
                  </a:lnTo>
                  <a:close/>
                  <a:moveTo>
                    <a:pt x="50" y="50"/>
                  </a:moveTo>
                  <a:lnTo>
                    <a:pt x="40" y="22"/>
                  </a:lnTo>
                  <a:lnTo>
                    <a:pt x="31" y="50"/>
                  </a:lnTo>
                  <a:lnTo>
                    <a:pt x="50" y="5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15" name="Freeform 33">
              <a:extLst>
                <a:ext uri="{FF2B5EF4-FFF2-40B4-BE49-F238E27FC236}">
                  <a16:creationId xmlns:a16="http://schemas.microsoft.com/office/drawing/2014/main" id="{DE0C7275-54C1-4C0E-A900-3BA9CF18FC7F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1439349" y="970279"/>
              <a:ext cx="88909" cy="111137"/>
            </a:xfrm>
            <a:custGeom>
              <a:avLst/>
              <a:gdLst>
                <a:gd name="T0" fmla="*/ 51 w 68"/>
                <a:gd name="T1" fmla="*/ 85 h 85"/>
                <a:gd name="T2" fmla="*/ 51 w 68"/>
                <a:gd name="T3" fmla="*/ 49 h 85"/>
                <a:gd name="T4" fmla="*/ 17 w 68"/>
                <a:gd name="T5" fmla="*/ 49 h 85"/>
                <a:gd name="T6" fmla="*/ 17 w 68"/>
                <a:gd name="T7" fmla="*/ 85 h 85"/>
                <a:gd name="T8" fmla="*/ 0 w 68"/>
                <a:gd name="T9" fmla="*/ 85 h 85"/>
                <a:gd name="T10" fmla="*/ 0 w 68"/>
                <a:gd name="T11" fmla="*/ 0 h 85"/>
                <a:gd name="T12" fmla="*/ 17 w 68"/>
                <a:gd name="T13" fmla="*/ 0 h 85"/>
                <a:gd name="T14" fmla="*/ 17 w 68"/>
                <a:gd name="T15" fmla="*/ 33 h 85"/>
                <a:gd name="T16" fmla="*/ 51 w 68"/>
                <a:gd name="T17" fmla="*/ 33 h 85"/>
                <a:gd name="T18" fmla="*/ 51 w 68"/>
                <a:gd name="T19" fmla="*/ 0 h 85"/>
                <a:gd name="T20" fmla="*/ 68 w 68"/>
                <a:gd name="T21" fmla="*/ 0 h 85"/>
                <a:gd name="T22" fmla="*/ 68 w 68"/>
                <a:gd name="T23" fmla="*/ 85 h 85"/>
                <a:gd name="T24" fmla="*/ 51 w 68"/>
                <a:gd name="T25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8" h="85">
                  <a:moveTo>
                    <a:pt x="51" y="85"/>
                  </a:moveTo>
                  <a:lnTo>
                    <a:pt x="51" y="49"/>
                  </a:lnTo>
                  <a:lnTo>
                    <a:pt x="17" y="49"/>
                  </a:lnTo>
                  <a:lnTo>
                    <a:pt x="17" y="85"/>
                  </a:lnTo>
                  <a:lnTo>
                    <a:pt x="0" y="85"/>
                  </a:lnTo>
                  <a:lnTo>
                    <a:pt x="0" y="0"/>
                  </a:lnTo>
                  <a:lnTo>
                    <a:pt x="17" y="0"/>
                  </a:lnTo>
                  <a:lnTo>
                    <a:pt x="17" y="33"/>
                  </a:lnTo>
                  <a:lnTo>
                    <a:pt x="51" y="33"/>
                  </a:lnTo>
                  <a:lnTo>
                    <a:pt x="51" y="0"/>
                  </a:lnTo>
                  <a:lnTo>
                    <a:pt x="68" y="0"/>
                  </a:lnTo>
                  <a:lnTo>
                    <a:pt x="68" y="85"/>
                  </a:lnTo>
                  <a:lnTo>
                    <a:pt x="51" y="8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16" name="Freeform 34">
              <a:extLst>
                <a:ext uri="{FF2B5EF4-FFF2-40B4-BE49-F238E27FC236}">
                  <a16:creationId xmlns:a16="http://schemas.microsoft.com/office/drawing/2014/main" id="{0A332B72-1C98-486F-B1D7-FD53CDB0B0EC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11557023" y="970279"/>
              <a:ext cx="90217" cy="111137"/>
            </a:xfrm>
            <a:custGeom>
              <a:avLst/>
              <a:gdLst>
                <a:gd name="T0" fmla="*/ 94 w 131"/>
                <a:gd name="T1" fmla="*/ 162 h 162"/>
                <a:gd name="T2" fmla="*/ 65 w 131"/>
                <a:gd name="T3" fmla="*/ 104 h 162"/>
                <a:gd name="T4" fmla="*/ 32 w 131"/>
                <a:gd name="T5" fmla="*/ 104 h 162"/>
                <a:gd name="T6" fmla="*/ 32 w 131"/>
                <a:gd name="T7" fmla="*/ 162 h 162"/>
                <a:gd name="T8" fmla="*/ 0 w 131"/>
                <a:gd name="T9" fmla="*/ 162 h 162"/>
                <a:gd name="T10" fmla="*/ 0 w 131"/>
                <a:gd name="T11" fmla="*/ 0 h 162"/>
                <a:gd name="T12" fmla="*/ 75 w 131"/>
                <a:gd name="T13" fmla="*/ 0 h 162"/>
                <a:gd name="T14" fmla="*/ 97 w 131"/>
                <a:gd name="T15" fmla="*/ 3 h 162"/>
                <a:gd name="T16" fmla="*/ 115 w 131"/>
                <a:gd name="T17" fmla="*/ 12 h 162"/>
                <a:gd name="T18" fmla="*/ 127 w 131"/>
                <a:gd name="T19" fmla="*/ 29 h 162"/>
                <a:gd name="T20" fmla="*/ 131 w 131"/>
                <a:gd name="T21" fmla="*/ 51 h 162"/>
                <a:gd name="T22" fmla="*/ 129 w 131"/>
                <a:gd name="T23" fmla="*/ 68 h 162"/>
                <a:gd name="T24" fmla="*/ 123 w 131"/>
                <a:gd name="T25" fmla="*/ 81 h 162"/>
                <a:gd name="T26" fmla="*/ 113 w 131"/>
                <a:gd name="T27" fmla="*/ 92 h 162"/>
                <a:gd name="T28" fmla="*/ 100 w 131"/>
                <a:gd name="T29" fmla="*/ 99 h 162"/>
                <a:gd name="T30" fmla="*/ 131 w 131"/>
                <a:gd name="T31" fmla="*/ 162 h 162"/>
                <a:gd name="T32" fmla="*/ 94 w 131"/>
                <a:gd name="T33" fmla="*/ 162 h 162"/>
                <a:gd name="T34" fmla="*/ 98 w 131"/>
                <a:gd name="T35" fmla="*/ 52 h 162"/>
                <a:gd name="T36" fmla="*/ 96 w 131"/>
                <a:gd name="T37" fmla="*/ 42 h 162"/>
                <a:gd name="T38" fmla="*/ 91 w 131"/>
                <a:gd name="T39" fmla="*/ 36 h 162"/>
                <a:gd name="T40" fmla="*/ 84 w 131"/>
                <a:gd name="T41" fmla="*/ 32 h 162"/>
                <a:gd name="T42" fmla="*/ 75 w 131"/>
                <a:gd name="T43" fmla="*/ 31 h 162"/>
                <a:gd name="T44" fmla="*/ 32 w 131"/>
                <a:gd name="T45" fmla="*/ 31 h 162"/>
                <a:gd name="T46" fmla="*/ 32 w 131"/>
                <a:gd name="T47" fmla="*/ 73 h 162"/>
                <a:gd name="T48" fmla="*/ 75 w 131"/>
                <a:gd name="T49" fmla="*/ 73 h 162"/>
                <a:gd name="T50" fmla="*/ 85 w 131"/>
                <a:gd name="T51" fmla="*/ 72 h 162"/>
                <a:gd name="T52" fmla="*/ 92 w 131"/>
                <a:gd name="T53" fmla="*/ 67 h 162"/>
                <a:gd name="T54" fmla="*/ 96 w 131"/>
                <a:gd name="T55" fmla="*/ 61 h 162"/>
                <a:gd name="T56" fmla="*/ 98 w 131"/>
                <a:gd name="T57" fmla="*/ 5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31" h="162">
                  <a:moveTo>
                    <a:pt x="94" y="162"/>
                  </a:moveTo>
                  <a:cubicBezTo>
                    <a:pt x="65" y="104"/>
                    <a:pt x="65" y="104"/>
                    <a:pt x="65" y="104"/>
                  </a:cubicBezTo>
                  <a:cubicBezTo>
                    <a:pt x="32" y="104"/>
                    <a:pt x="32" y="104"/>
                    <a:pt x="32" y="104"/>
                  </a:cubicBezTo>
                  <a:cubicBezTo>
                    <a:pt x="32" y="162"/>
                    <a:pt x="32" y="162"/>
                    <a:pt x="32" y="162"/>
                  </a:cubicBezTo>
                  <a:cubicBezTo>
                    <a:pt x="0" y="162"/>
                    <a:pt x="0" y="162"/>
                    <a:pt x="0" y="16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83" y="0"/>
                    <a:pt x="90" y="1"/>
                    <a:pt x="97" y="3"/>
                  </a:cubicBezTo>
                  <a:cubicBezTo>
                    <a:pt x="104" y="5"/>
                    <a:pt x="110" y="8"/>
                    <a:pt x="115" y="12"/>
                  </a:cubicBezTo>
                  <a:cubicBezTo>
                    <a:pt x="120" y="17"/>
                    <a:pt x="124" y="22"/>
                    <a:pt x="127" y="29"/>
                  </a:cubicBezTo>
                  <a:cubicBezTo>
                    <a:pt x="130" y="35"/>
                    <a:pt x="131" y="42"/>
                    <a:pt x="131" y="51"/>
                  </a:cubicBezTo>
                  <a:cubicBezTo>
                    <a:pt x="131" y="58"/>
                    <a:pt x="130" y="63"/>
                    <a:pt x="129" y="68"/>
                  </a:cubicBezTo>
                  <a:cubicBezTo>
                    <a:pt x="128" y="73"/>
                    <a:pt x="126" y="78"/>
                    <a:pt x="123" y="81"/>
                  </a:cubicBezTo>
                  <a:cubicBezTo>
                    <a:pt x="120" y="85"/>
                    <a:pt x="117" y="89"/>
                    <a:pt x="113" y="92"/>
                  </a:cubicBezTo>
                  <a:cubicBezTo>
                    <a:pt x="110" y="94"/>
                    <a:pt x="105" y="97"/>
                    <a:pt x="100" y="99"/>
                  </a:cubicBezTo>
                  <a:cubicBezTo>
                    <a:pt x="131" y="162"/>
                    <a:pt x="131" y="162"/>
                    <a:pt x="131" y="162"/>
                  </a:cubicBezTo>
                  <a:lnTo>
                    <a:pt x="94" y="162"/>
                  </a:lnTo>
                  <a:close/>
                  <a:moveTo>
                    <a:pt x="98" y="52"/>
                  </a:moveTo>
                  <a:cubicBezTo>
                    <a:pt x="98" y="48"/>
                    <a:pt x="97" y="45"/>
                    <a:pt x="96" y="42"/>
                  </a:cubicBezTo>
                  <a:cubicBezTo>
                    <a:pt x="95" y="39"/>
                    <a:pt x="93" y="37"/>
                    <a:pt x="91" y="36"/>
                  </a:cubicBezTo>
                  <a:cubicBezTo>
                    <a:pt x="89" y="34"/>
                    <a:pt x="86" y="33"/>
                    <a:pt x="84" y="32"/>
                  </a:cubicBezTo>
                  <a:cubicBezTo>
                    <a:pt x="81" y="32"/>
                    <a:pt x="78" y="31"/>
                    <a:pt x="75" y="31"/>
                  </a:cubicBezTo>
                  <a:cubicBezTo>
                    <a:pt x="32" y="31"/>
                    <a:pt x="32" y="31"/>
                    <a:pt x="32" y="31"/>
                  </a:cubicBezTo>
                  <a:cubicBezTo>
                    <a:pt x="32" y="73"/>
                    <a:pt x="32" y="73"/>
                    <a:pt x="32" y="73"/>
                  </a:cubicBezTo>
                  <a:cubicBezTo>
                    <a:pt x="75" y="73"/>
                    <a:pt x="75" y="73"/>
                    <a:pt x="75" y="73"/>
                  </a:cubicBezTo>
                  <a:cubicBezTo>
                    <a:pt x="79" y="73"/>
                    <a:pt x="82" y="72"/>
                    <a:pt x="85" y="72"/>
                  </a:cubicBezTo>
                  <a:cubicBezTo>
                    <a:pt x="88" y="71"/>
                    <a:pt x="90" y="69"/>
                    <a:pt x="92" y="67"/>
                  </a:cubicBezTo>
                  <a:cubicBezTo>
                    <a:pt x="94" y="66"/>
                    <a:pt x="95" y="64"/>
                    <a:pt x="96" y="61"/>
                  </a:cubicBezTo>
                  <a:cubicBezTo>
                    <a:pt x="97" y="58"/>
                    <a:pt x="98" y="55"/>
                    <a:pt x="98" y="5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17" name="Freeform 35">
              <a:extLst>
                <a:ext uri="{FF2B5EF4-FFF2-40B4-BE49-F238E27FC236}">
                  <a16:creationId xmlns:a16="http://schemas.microsoft.com/office/drawing/2014/main" id="{B3BCF9E1-0026-4389-B268-FEF82FAE2561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1669468" y="970279"/>
              <a:ext cx="79757" cy="111137"/>
            </a:xfrm>
            <a:custGeom>
              <a:avLst/>
              <a:gdLst>
                <a:gd name="T0" fmla="*/ 61 w 61"/>
                <a:gd name="T1" fmla="*/ 85 h 85"/>
                <a:gd name="T2" fmla="*/ 0 w 61"/>
                <a:gd name="T3" fmla="*/ 85 h 85"/>
                <a:gd name="T4" fmla="*/ 0 w 61"/>
                <a:gd name="T5" fmla="*/ 0 h 85"/>
                <a:gd name="T6" fmla="*/ 59 w 61"/>
                <a:gd name="T7" fmla="*/ 0 h 85"/>
                <a:gd name="T8" fmla="*/ 59 w 61"/>
                <a:gd name="T9" fmla="*/ 16 h 85"/>
                <a:gd name="T10" fmla="*/ 18 w 61"/>
                <a:gd name="T11" fmla="*/ 16 h 85"/>
                <a:gd name="T12" fmla="*/ 18 w 61"/>
                <a:gd name="T13" fmla="*/ 31 h 85"/>
                <a:gd name="T14" fmla="*/ 52 w 61"/>
                <a:gd name="T15" fmla="*/ 31 h 85"/>
                <a:gd name="T16" fmla="*/ 52 w 61"/>
                <a:gd name="T17" fmla="*/ 48 h 85"/>
                <a:gd name="T18" fmla="*/ 18 w 61"/>
                <a:gd name="T19" fmla="*/ 48 h 85"/>
                <a:gd name="T20" fmla="*/ 18 w 61"/>
                <a:gd name="T21" fmla="*/ 68 h 85"/>
                <a:gd name="T22" fmla="*/ 61 w 61"/>
                <a:gd name="T23" fmla="*/ 68 h 85"/>
                <a:gd name="T24" fmla="*/ 61 w 61"/>
                <a:gd name="T25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1" h="85">
                  <a:moveTo>
                    <a:pt x="61" y="85"/>
                  </a:moveTo>
                  <a:lnTo>
                    <a:pt x="0" y="85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6"/>
                  </a:lnTo>
                  <a:lnTo>
                    <a:pt x="18" y="16"/>
                  </a:lnTo>
                  <a:lnTo>
                    <a:pt x="18" y="31"/>
                  </a:lnTo>
                  <a:lnTo>
                    <a:pt x="52" y="31"/>
                  </a:lnTo>
                  <a:lnTo>
                    <a:pt x="52" y="48"/>
                  </a:lnTo>
                  <a:lnTo>
                    <a:pt x="18" y="48"/>
                  </a:lnTo>
                  <a:lnTo>
                    <a:pt x="18" y="68"/>
                  </a:lnTo>
                  <a:lnTo>
                    <a:pt x="61" y="68"/>
                  </a:lnTo>
                  <a:lnTo>
                    <a:pt x="61" y="8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18" name="Freeform 36">
              <a:extLst>
                <a:ext uri="{FF2B5EF4-FFF2-40B4-BE49-F238E27FC236}">
                  <a16:creationId xmlns:a16="http://schemas.microsoft.com/office/drawing/2014/main" id="{649F954E-57A5-4CCA-9CAB-F232FEBD5F36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9731769" y="1013426"/>
              <a:ext cx="261498" cy="366097"/>
            </a:xfrm>
            <a:custGeom>
              <a:avLst/>
              <a:gdLst>
                <a:gd name="T0" fmla="*/ 200 w 200"/>
                <a:gd name="T1" fmla="*/ 280 h 280"/>
                <a:gd name="T2" fmla="*/ 0 w 200"/>
                <a:gd name="T3" fmla="*/ 280 h 280"/>
                <a:gd name="T4" fmla="*/ 0 w 200"/>
                <a:gd name="T5" fmla="*/ 0 h 280"/>
                <a:gd name="T6" fmla="*/ 181 w 200"/>
                <a:gd name="T7" fmla="*/ 0 h 280"/>
                <a:gd name="T8" fmla="*/ 181 w 200"/>
                <a:gd name="T9" fmla="*/ 55 h 280"/>
                <a:gd name="T10" fmla="*/ 55 w 200"/>
                <a:gd name="T11" fmla="*/ 55 h 280"/>
                <a:gd name="T12" fmla="*/ 55 w 200"/>
                <a:gd name="T13" fmla="*/ 103 h 280"/>
                <a:gd name="T14" fmla="*/ 168 w 200"/>
                <a:gd name="T15" fmla="*/ 103 h 280"/>
                <a:gd name="T16" fmla="*/ 168 w 200"/>
                <a:gd name="T17" fmla="*/ 157 h 280"/>
                <a:gd name="T18" fmla="*/ 55 w 200"/>
                <a:gd name="T19" fmla="*/ 157 h 280"/>
                <a:gd name="T20" fmla="*/ 55 w 200"/>
                <a:gd name="T21" fmla="*/ 225 h 280"/>
                <a:gd name="T22" fmla="*/ 200 w 200"/>
                <a:gd name="T23" fmla="*/ 225 h 280"/>
                <a:gd name="T24" fmla="*/ 200 w 200"/>
                <a:gd name="T25" fmla="*/ 280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0" h="280">
                  <a:moveTo>
                    <a:pt x="200" y="280"/>
                  </a:moveTo>
                  <a:lnTo>
                    <a:pt x="0" y="280"/>
                  </a:lnTo>
                  <a:lnTo>
                    <a:pt x="0" y="0"/>
                  </a:lnTo>
                  <a:lnTo>
                    <a:pt x="181" y="0"/>
                  </a:lnTo>
                  <a:lnTo>
                    <a:pt x="181" y="55"/>
                  </a:lnTo>
                  <a:lnTo>
                    <a:pt x="55" y="55"/>
                  </a:lnTo>
                  <a:lnTo>
                    <a:pt x="55" y="103"/>
                  </a:lnTo>
                  <a:lnTo>
                    <a:pt x="168" y="103"/>
                  </a:lnTo>
                  <a:lnTo>
                    <a:pt x="168" y="157"/>
                  </a:lnTo>
                  <a:lnTo>
                    <a:pt x="55" y="157"/>
                  </a:lnTo>
                  <a:lnTo>
                    <a:pt x="55" y="225"/>
                  </a:lnTo>
                  <a:lnTo>
                    <a:pt x="200" y="225"/>
                  </a:lnTo>
                  <a:lnTo>
                    <a:pt x="200" y="28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19" name="Freeform 37">
              <a:extLst>
                <a:ext uri="{FF2B5EF4-FFF2-40B4-BE49-F238E27FC236}">
                  <a16:creationId xmlns:a16="http://schemas.microsoft.com/office/drawing/2014/main" id="{6DE56CC7-4BD4-440A-97FD-A8FAEC415494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9981497" y="1013426"/>
              <a:ext cx="334717" cy="366097"/>
            </a:xfrm>
            <a:custGeom>
              <a:avLst/>
              <a:gdLst>
                <a:gd name="T0" fmla="*/ 256 w 256"/>
                <a:gd name="T1" fmla="*/ 0 h 280"/>
                <a:gd name="T2" fmla="*/ 156 w 256"/>
                <a:gd name="T3" fmla="*/ 157 h 280"/>
                <a:gd name="T4" fmla="*/ 156 w 256"/>
                <a:gd name="T5" fmla="*/ 280 h 280"/>
                <a:gd name="T6" fmla="*/ 100 w 256"/>
                <a:gd name="T7" fmla="*/ 280 h 280"/>
                <a:gd name="T8" fmla="*/ 100 w 256"/>
                <a:gd name="T9" fmla="*/ 159 h 280"/>
                <a:gd name="T10" fmla="*/ 0 w 256"/>
                <a:gd name="T11" fmla="*/ 0 h 280"/>
                <a:gd name="T12" fmla="*/ 64 w 256"/>
                <a:gd name="T13" fmla="*/ 0 h 280"/>
                <a:gd name="T14" fmla="*/ 128 w 256"/>
                <a:gd name="T15" fmla="*/ 106 h 280"/>
                <a:gd name="T16" fmla="*/ 192 w 256"/>
                <a:gd name="T17" fmla="*/ 0 h 280"/>
                <a:gd name="T18" fmla="*/ 256 w 256"/>
                <a:gd name="T19" fmla="*/ 0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6" h="280">
                  <a:moveTo>
                    <a:pt x="256" y="0"/>
                  </a:moveTo>
                  <a:lnTo>
                    <a:pt x="156" y="157"/>
                  </a:lnTo>
                  <a:lnTo>
                    <a:pt x="156" y="280"/>
                  </a:lnTo>
                  <a:lnTo>
                    <a:pt x="100" y="280"/>
                  </a:lnTo>
                  <a:lnTo>
                    <a:pt x="100" y="159"/>
                  </a:lnTo>
                  <a:lnTo>
                    <a:pt x="0" y="0"/>
                  </a:lnTo>
                  <a:lnTo>
                    <a:pt x="64" y="0"/>
                  </a:lnTo>
                  <a:lnTo>
                    <a:pt x="128" y="106"/>
                  </a:lnTo>
                  <a:lnTo>
                    <a:pt x="192" y="0"/>
                  </a:lnTo>
                  <a:lnTo>
                    <a:pt x="256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20" name="Freeform 38">
              <a:extLst>
                <a:ext uri="{FF2B5EF4-FFF2-40B4-BE49-F238E27FC236}">
                  <a16:creationId xmlns:a16="http://schemas.microsoft.com/office/drawing/2014/main" id="{658A3BBD-2F70-448C-911B-74A58B3D4525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10199846" y="638177"/>
              <a:ext cx="1435622" cy="1039454"/>
            </a:xfrm>
            <a:custGeom>
              <a:avLst/>
              <a:gdLst>
                <a:gd name="T0" fmla="*/ 0 w 2104"/>
                <a:gd name="T1" fmla="*/ 293 h 1521"/>
                <a:gd name="T2" fmla="*/ 243 w 2104"/>
                <a:gd name="T3" fmla="*/ 139 h 1521"/>
                <a:gd name="T4" fmla="*/ 243 w 2104"/>
                <a:gd name="T5" fmla="*/ 191 h 1521"/>
                <a:gd name="T6" fmla="*/ 176 w 2104"/>
                <a:gd name="T7" fmla="*/ 1056 h 1521"/>
                <a:gd name="T8" fmla="*/ 279 w 2104"/>
                <a:gd name="T9" fmla="*/ 25 h 1521"/>
                <a:gd name="T10" fmla="*/ 1557 w 2104"/>
                <a:gd name="T11" fmla="*/ 1144 h 1521"/>
                <a:gd name="T12" fmla="*/ 1557 w 2104"/>
                <a:gd name="T13" fmla="*/ 1108 h 1521"/>
                <a:gd name="T14" fmla="*/ 1557 w 2104"/>
                <a:gd name="T15" fmla="*/ 1072 h 1521"/>
                <a:gd name="T16" fmla="*/ 1557 w 2104"/>
                <a:gd name="T17" fmla="*/ 1035 h 1521"/>
                <a:gd name="T18" fmla="*/ 1557 w 2104"/>
                <a:gd name="T19" fmla="*/ 1000 h 1521"/>
                <a:gd name="T20" fmla="*/ 1186 w 2104"/>
                <a:gd name="T21" fmla="*/ 465 h 1521"/>
                <a:gd name="T22" fmla="*/ 1915 w 2104"/>
                <a:gd name="T23" fmla="*/ 372 h 1521"/>
                <a:gd name="T24" fmla="*/ 1099 w 2104"/>
                <a:gd name="T25" fmla="*/ 499 h 1521"/>
                <a:gd name="T26" fmla="*/ 1977 w 2104"/>
                <a:gd name="T27" fmla="*/ 426 h 1521"/>
                <a:gd name="T28" fmla="*/ 1089 w 2104"/>
                <a:gd name="T29" fmla="*/ 421 h 1521"/>
                <a:gd name="T30" fmla="*/ 1565 w 2104"/>
                <a:gd name="T31" fmla="*/ 60 h 1521"/>
                <a:gd name="T32" fmla="*/ 1565 w 2104"/>
                <a:gd name="T33" fmla="*/ 24 h 1521"/>
                <a:gd name="T34" fmla="*/ 556 w 2104"/>
                <a:gd name="T35" fmla="*/ 485 h 1521"/>
                <a:gd name="T36" fmla="*/ 468 w 2104"/>
                <a:gd name="T37" fmla="*/ 41 h 1521"/>
                <a:gd name="T38" fmla="*/ 388 w 2104"/>
                <a:gd name="T39" fmla="*/ 106 h 1521"/>
                <a:gd name="T40" fmla="*/ 351 w 2104"/>
                <a:gd name="T41" fmla="*/ 760 h 1521"/>
                <a:gd name="T42" fmla="*/ 316 w 2104"/>
                <a:gd name="T43" fmla="*/ 70 h 1521"/>
                <a:gd name="T44" fmla="*/ 434 w 2104"/>
                <a:gd name="T45" fmla="*/ 1086 h 1521"/>
                <a:gd name="T46" fmla="*/ 885 w 2104"/>
                <a:gd name="T47" fmla="*/ 487 h 1521"/>
                <a:gd name="T48" fmla="*/ 885 w 2104"/>
                <a:gd name="T49" fmla="*/ 523 h 1521"/>
                <a:gd name="T50" fmla="*/ 568 w 2104"/>
                <a:gd name="T51" fmla="*/ 1056 h 1521"/>
                <a:gd name="T52" fmla="*/ 885 w 2104"/>
                <a:gd name="T53" fmla="*/ 559 h 1521"/>
                <a:gd name="T54" fmla="*/ 1089 w 2104"/>
                <a:gd name="T55" fmla="*/ 534 h 1521"/>
                <a:gd name="T56" fmla="*/ 1299 w 2104"/>
                <a:gd name="T57" fmla="*/ 996 h 1521"/>
                <a:gd name="T58" fmla="*/ 672 w 2104"/>
                <a:gd name="T59" fmla="*/ 1250 h 1521"/>
                <a:gd name="T60" fmla="*/ 894 w 2104"/>
                <a:gd name="T61" fmla="*/ 1377 h 1521"/>
                <a:gd name="T62" fmla="*/ 895 w 2104"/>
                <a:gd name="T63" fmla="*/ 1413 h 1521"/>
                <a:gd name="T64" fmla="*/ 619 w 2104"/>
                <a:gd name="T65" fmla="*/ 1361 h 1521"/>
                <a:gd name="T66" fmla="*/ 1382 w 2104"/>
                <a:gd name="T67" fmla="*/ 1152 h 1521"/>
                <a:gd name="T68" fmla="*/ 509 w 2104"/>
                <a:gd name="T69" fmla="*/ 1325 h 1521"/>
                <a:gd name="T70" fmla="*/ 1416 w 2104"/>
                <a:gd name="T71" fmla="*/ 1162 h 1521"/>
                <a:gd name="T72" fmla="*/ 2062 w 2104"/>
                <a:gd name="T73" fmla="*/ 711 h 1521"/>
                <a:gd name="T74" fmla="*/ 386 w 2104"/>
                <a:gd name="T75" fmla="*/ 950 h 1521"/>
                <a:gd name="T76" fmla="*/ 351 w 2104"/>
                <a:gd name="T77" fmla="*/ 968 h 1521"/>
                <a:gd name="T78" fmla="*/ 885 w 2104"/>
                <a:gd name="T79" fmla="*/ 415 h 1521"/>
                <a:gd name="T80" fmla="*/ 1162 w 2104"/>
                <a:gd name="T81" fmla="*/ 535 h 1521"/>
                <a:gd name="T82" fmla="*/ 1420 w 2104"/>
                <a:gd name="T83" fmla="*/ 978 h 1521"/>
                <a:gd name="T84" fmla="*/ 1162 w 2104"/>
                <a:gd name="T85" fmla="*/ 535 h 1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104" h="1521">
                  <a:moveTo>
                    <a:pt x="268" y="12"/>
                  </a:moveTo>
                  <a:cubicBezTo>
                    <a:pt x="259" y="12"/>
                    <a:pt x="252" y="20"/>
                    <a:pt x="246" y="26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4" y="303"/>
                    <a:pt x="25" y="320"/>
                    <a:pt x="51" y="291"/>
                  </a:cubicBezTo>
                  <a:cubicBezTo>
                    <a:pt x="66" y="276"/>
                    <a:pt x="243" y="80"/>
                    <a:pt x="243" y="80"/>
                  </a:cubicBezTo>
                  <a:cubicBezTo>
                    <a:pt x="243" y="139"/>
                    <a:pt x="243" y="139"/>
                    <a:pt x="243" y="139"/>
                  </a:cubicBezTo>
                  <a:cubicBezTo>
                    <a:pt x="227" y="157"/>
                    <a:pt x="76" y="322"/>
                    <a:pt x="60" y="338"/>
                  </a:cubicBezTo>
                  <a:cubicBezTo>
                    <a:pt x="38" y="360"/>
                    <a:pt x="46" y="383"/>
                    <a:pt x="59" y="392"/>
                  </a:cubicBezTo>
                  <a:cubicBezTo>
                    <a:pt x="243" y="191"/>
                    <a:pt x="243" y="191"/>
                    <a:pt x="243" y="191"/>
                  </a:cubicBezTo>
                  <a:cubicBezTo>
                    <a:pt x="243" y="983"/>
                    <a:pt x="243" y="983"/>
                    <a:pt x="243" y="983"/>
                  </a:cubicBezTo>
                  <a:cubicBezTo>
                    <a:pt x="243" y="1029"/>
                    <a:pt x="228" y="1059"/>
                    <a:pt x="200" y="1059"/>
                  </a:cubicBezTo>
                  <a:cubicBezTo>
                    <a:pt x="187" y="1059"/>
                    <a:pt x="181" y="1057"/>
                    <a:pt x="176" y="1056"/>
                  </a:cubicBezTo>
                  <a:cubicBezTo>
                    <a:pt x="170" y="1070"/>
                    <a:pt x="180" y="1090"/>
                    <a:pt x="208" y="1090"/>
                  </a:cubicBezTo>
                  <a:cubicBezTo>
                    <a:pt x="268" y="1090"/>
                    <a:pt x="279" y="1027"/>
                    <a:pt x="279" y="983"/>
                  </a:cubicBezTo>
                  <a:cubicBezTo>
                    <a:pt x="279" y="25"/>
                    <a:pt x="279" y="25"/>
                    <a:pt x="279" y="25"/>
                  </a:cubicBezTo>
                  <a:cubicBezTo>
                    <a:pt x="279" y="18"/>
                    <a:pt x="275" y="12"/>
                    <a:pt x="268" y="12"/>
                  </a:cubicBezTo>
                  <a:close/>
                  <a:moveTo>
                    <a:pt x="2062" y="711"/>
                  </a:moveTo>
                  <a:cubicBezTo>
                    <a:pt x="2072" y="820"/>
                    <a:pt x="1941" y="1144"/>
                    <a:pt x="1557" y="1144"/>
                  </a:cubicBezTo>
                  <a:cubicBezTo>
                    <a:pt x="1472" y="1144"/>
                    <a:pt x="1403" y="1124"/>
                    <a:pt x="1361" y="1105"/>
                  </a:cubicBezTo>
                  <a:cubicBezTo>
                    <a:pt x="1364" y="1094"/>
                    <a:pt x="1367" y="1083"/>
                    <a:pt x="1370" y="1072"/>
                  </a:cubicBezTo>
                  <a:cubicBezTo>
                    <a:pt x="1423" y="1094"/>
                    <a:pt x="1482" y="1108"/>
                    <a:pt x="1557" y="1108"/>
                  </a:cubicBezTo>
                  <a:cubicBezTo>
                    <a:pt x="1871" y="1108"/>
                    <a:pt x="1988" y="879"/>
                    <a:pt x="2010" y="795"/>
                  </a:cubicBezTo>
                  <a:cubicBezTo>
                    <a:pt x="2025" y="742"/>
                    <a:pt x="2018" y="711"/>
                    <a:pt x="1981" y="711"/>
                  </a:cubicBezTo>
                  <a:cubicBezTo>
                    <a:pt x="1994" y="785"/>
                    <a:pt x="1899" y="1072"/>
                    <a:pt x="1557" y="1072"/>
                  </a:cubicBezTo>
                  <a:cubicBezTo>
                    <a:pt x="1490" y="1072"/>
                    <a:pt x="1431" y="1059"/>
                    <a:pt x="1377" y="1037"/>
                  </a:cubicBezTo>
                  <a:cubicBezTo>
                    <a:pt x="1379" y="1026"/>
                    <a:pt x="1380" y="1014"/>
                    <a:pt x="1382" y="1003"/>
                  </a:cubicBezTo>
                  <a:cubicBezTo>
                    <a:pt x="1420" y="1018"/>
                    <a:pt x="1479" y="1035"/>
                    <a:pt x="1557" y="1035"/>
                  </a:cubicBezTo>
                  <a:cubicBezTo>
                    <a:pt x="1794" y="1035"/>
                    <a:pt x="1908" y="877"/>
                    <a:pt x="1932" y="781"/>
                  </a:cubicBezTo>
                  <a:cubicBezTo>
                    <a:pt x="1943" y="739"/>
                    <a:pt x="1936" y="711"/>
                    <a:pt x="1902" y="711"/>
                  </a:cubicBezTo>
                  <a:cubicBezTo>
                    <a:pt x="1910" y="784"/>
                    <a:pt x="1826" y="1000"/>
                    <a:pt x="1557" y="1000"/>
                  </a:cubicBezTo>
                  <a:cubicBezTo>
                    <a:pt x="1519" y="1000"/>
                    <a:pt x="1484" y="995"/>
                    <a:pt x="1455" y="988"/>
                  </a:cubicBezTo>
                  <a:cubicBezTo>
                    <a:pt x="1456" y="975"/>
                    <a:pt x="1456" y="960"/>
                    <a:pt x="1456" y="950"/>
                  </a:cubicBezTo>
                  <a:cubicBezTo>
                    <a:pt x="1456" y="749"/>
                    <a:pt x="1351" y="567"/>
                    <a:pt x="1186" y="465"/>
                  </a:cubicBezTo>
                  <a:cubicBezTo>
                    <a:pt x="1249" y="318"/>
                    <a:pt x="1390" y="204"/>
                    <a:pt x="1565" y="204"/>
                  </a:cubicBezTo>
                  <a:cubicBezTo>
                    <a:pt x="1787" y="204"/>
                    <a:pt x="1886" y="374"/>
                    <a:pt x="1896" y="426"/>
                  </a:cubicBezTo>
                  <a:cubicBezTo>
                    <a:pt x="1919" y="426"/>
                    <a:pt x="1925" y="395"/>
                    <a:pt x="1915" y="372"/>
                  </a:cubicBezTo>
                  <a:cubicBezTo>
                    <a:pt x="1892" y="314"/>
                    <a:pt x="1782" y="169"/>
                    <a:pt x="1565" y="169"/>
                  </a:cubicBezTo>
                  <a:cubicBezTo>
                    <a:pt x="1348" y="169"/>
                    <a:pt x="1187" y="321"/>
                    <a:pt x="1131" y="516"/>
                  </a:cubicBezTo>
                  <a:cubicBezTo>
                    <a:pt x="1121" y="510"/>
                    <a:pt x="1110" y="504"/>
                    <a:pt x="1099" y="499"/>
                  </a:cubicBezTo>
                  <a:cubicBezTo>
                    <a:pt x="1107" y="476"/>
                    <a:pt x="1114" y="453"/>
                    <a:pt x="1122" y="434"/>
                  </a:cubicBezTo>
                  <a:cubicBezTo>
                    <a:pt x="1192" y="257"/>
                    <a:pt x="1361" y="132"/>
                    <a:pt x="1565" y="132"/>
                  </a:cubicBezTo>
                  <a:cubicBezTo>
                    <a:pt x="1836" y="132"/>
                    <a:pt x="1966" y="343"/>
                    <a:pt x="1977" y="426"/>
                  </a:cubicBezTo>
                  <a:cubicBezTo>
                    <a:pt x="1997" y="426"/>
                    <a:pt x="2012" y="403"/>
                    <a:pt x="2003" y="378"/>
                  </a:cubicBezTo>
                  <a:cubicBezTo>
                    <a:pt x="1975" y="301"/>
                    <a:pt x="1856" y="96"/>
                    <a:pt x="1565" y="96"/>
                  </a:cubicBezTo>
                  <a:cubicBezTo>
                    <a:pt x="1346" y="96"/>
                    <a:pt x="1164" y="231"/>
                    <a:pt x="1089" y="421"/>
                  </a:cubicBezTo>
                  <a:cubicBezTo>
                    <a:pt x="1082" y="437"/>
                    <a:pt x="1074" y="460"/>
                    <a:pt x="1066" y="485"/>
                  </a:cubicBezTo>
                  <a:cubicBezTo>
                    <a:pt x="1056" y="481"/>
                    <a:pt x="1046" y="477"/>
                    <a:pt x="1036" y="474"/>
                  </a:cubicBezTo>
                  <a:cubicBezTo>
                    <a:pt x="1086" y="263"/>
                    <a:pt x="1283" y="60"/>
                    <a:pt x="1565" y="60"/>
                  </a:cubicBezTo>
                  <a:cubicBezTo>
                    <a:pt x="1936" y="60"/>
                    <a:pt x="2057" y="372"/>
                    <a:pt x="2058" y="426"/>
                  </a:cubicBezTo>
                  <a:cubicBezTo>
                    <a:pt x="2084" y="426"/>
                    <a:pt x="2093" y="398"/>
                    <a:pt x="2085" y="372"/>
                  </a:cubicBezTo>
                  <a:cubicBezTo>
                    <a:pt x="2058" y="289"/>
                    <a:pt x="1922" y="24"/>
                    <a:pt x="1565" y="24"/>
                  </a:cubicBezTo>
                  <a:cubicBezTo>
                    <a:pt x="1298" y="24"/>
                    <a:pt x="1105" y="187"/>
                    <a:pt x="1024" y="396"/>
                  </a:cubicBezTo>
                  <a:cubicBezTo>
                    <a:pt x="979" y="385"/>
                    <a:pt x="932" y="379"/>
                    <a:pt x="885" y="379"/>
                  </a:cubicBezTo>
                  <a:cubicBezTo>
                    <a:pt x="766" y="379"/>
                    <a:pt x="653" y="416"/>
                    <a:pt x="556" y="485"/>
                  </a:cubicBezTo>
                  <a:cubicBezTo>
                    <a:pt x="505" y="522"/>
                    <a:pt x="460" y="566"/>
                    <a:pt x="424" y="616"/>
                  </a:cubicBezTo>
                  <a:cubicBezTo>
                    <a:pt x="424" y="106"/>
                    <a:pt x="424" y="106"/>
                    <a:pt x="424" y="106"/>
                  </a:cubicBezTo>
                  <a:cubicBezTo>
                    <a:pt x="424" y="60"/>
                    <a:pt x="439" y="41"/>
                    <a:pt x="468" y="41"/>
                  </a:cubicBezTo>
                  <a:cubicBezTo>
                    <a:pt x="480" y="41"/>
                    <a:pt x="486" y="43"/>
                    <a:pt x="491" y="44"/>
                  </a:cubicBezTo>
                  <a:cubicBezTo>
                    <a:pt x="497" y="30"/>
                    <a:pt x="487" y="10"/>
                    <a:pt x="459" y="10"/>
                  </a:cubicBezTo>
                  <a:cubicBezTo>
                    <a:pt x="399" y="10"/>
                    <a:pt x="388" y="62"/>
                    <a:pt x="388" y="106"/>
                  </a:cubicBezTo>
                  <a:cubicBezTo>
                    <a:pt x="388" y="106"/>
                    <a:pt x="388" y="518"/>
                    <a:pt x="388" y="672"/>
                  </a:cubicBezTo>
                  <a:cubicBezTo>
                    <a:pt x="388" y="673"/>
                    <a:pt x="387" y="674"/>
                    <a:pt x="387" y="675"/>
                  </a:cubicBezTo>
                  <a:cubicBezTo>
                    <a:pt x="377" y="692"/>
                    <a:pt x="362" y="729"/>
                    <a:pt x="351" y="760"/>
                  </a:cubicBezTo>
                  <a:cubicBezTo>
                    <a:pt x="351" y="84"/>
                    <a:pt x="351" y="84"/>
                    <a:pt x="351" y="84"/>
                  </a:cubicBezTo>
                  <a:cubicBezTo>
                    <a:pt x="351" y="41"/>
                    <a:pt x="361" y="26"/>
                    <a:pt x="369" y="19"/>
                  </a:cubicBezTo>
                  <a:cubicBezTo>
                    <a:pt x="365" y="5"/>
                    <a:pt x="316" y="0"/>
                    <a:pt x="316" y="70"/>
                  </a:cubicBezTo>
                  <a:cubicBezTo>
                    <a:pt x="316" y="103"/>
                    <a:pt x="316" y="984"/>
                    <a:pt x="316" y="984"/>
                  </a:cubicBezTo>
                  <a:cubicBezTo>
                    <a:pt x="316" y="1060"/>
                    <a:pt x="351" y="1091"/>
                    <a:pt x="389" y="1091"/>
                  </a:cubicBezTo>
                  <a:cubicBezTo>
                    <a:pt x="405" y="1091"/>
                    <a:pt x="422" y="1088"/>
                    <a:pt x="434" y="1086"/>
                  </a:cubicBezTo>
                  <a:cubicBezTo>
                    <a:pt x="440" y="1084"/>
                    <a:pt x="444" y="1077"/>
                    <a:pt x="442" y="1071"/>
                  </a:cubicBezTo>
                  <a:cubicBezTo>
                    <a:pt x="430" y="1040"/>
                    <a:pt x="422" y="998"/>
                    <a:pt x="422" y="950"/>
                  </a:cubicBezTo>
                  <a:cubicBezTo>
                    <a:pt x="422" y="694"/>
                    <a:pt x="630" y="487"/>
                    <a:pt x="885" y="487"/>
                  </a:cubicBezTo>
                  <a:cubicBezTo>
                    <a:pt x="946" y="487"/>
                    <a:pt x="1003" y="498"/>
                    <a:pt x="1057" y="519"/>
                  </a:cubicBezTo>
                  <a:cubicBezTo>
                    <a:pt x="1053" y="530"/>
                    <a:pt x="1051" y="542"/>
                    <a:pt x="1048" y="553"/>
                  </a:cubicBezTo>
                  <a:cubicBezTo>
                    <a:pt x="1008" y="537"/>
                    <a:pt x="955" y="523"/>
                    <a:pt x="885" y="523"/>
                  </a:cubicBezTo>
                  <a:cubicBezTo>
                    <a:pt x="650" y="523"/>
                    <a:pt x="458" y="715"/>
                    <a:pt x="458" y="950"/>
                  </a:cubicBezTo>
                  <a:cubicBezTo>
                    <a:pt x="458" y="1011"/>
                    <a:pt x="475" y="1090"/>
                    <a:pt x="535" y="1090"/>
                  </a:cubicBezTo>
                  <a:cubicBezTo>
                    <a:pt x="564" y="1090"/>
                    <a:pt x="574" y="1070"/>
                    <a:pt x="568" y="1056"/>
                  </a:cubicBezTo>
                  <a:cubicBezTo>
                    <a:pt x="562" y="1057"/>
                    <a:pt x="556" y="1059"/>
                    <a:pt x="544" y="1059"/>
                  </a:cubicBezTo>
                  <a:cubicBezTo>
                    <a:pt x="516" y="1059"/>
                    <a:pt x="494" y="1021"/>
                    <a:pt x="494" y="950"/>
                  </a:cubicBezTo>
                  <a:cubicBezTo>
                    <a:pt x="494" y="734"/>
                    <a:pt x="669" y="559"/>
                    <a:pt x="885" y="559"/>
                  </a:cubicBezTo>
                  <a:cubicBezTo>
                    <a:pt x="959" y="559"/>
                    <a:pt x="1016" y="577"/>
                    <a:pt x="1056" y="597"/>
                  </a:cubicBezTo>
                  <a:cubicBezTo>
                    <a:pt x="1065" y="601"/>
                    <a:pt x="1075" y="595"/>
                    <a:pt x="1077" y="585"/>
                  </a:cubicBezTo>
                  <a:cubicBezTo>
                    <a:pt x="1079" y="571"/>
                    <a:pt x="1084" y="553"/>
                    <a:pt x="1089" y="534"/>
                  </a:cubicBezTo>
                  <a:cubicBezTo>
                    <a:pt x="1243" y="609"/>
                    <a:pt x="1349" y="768"/>
                    <a:pt x="1349" y="950"/>
                  </a:cubicBezTo>
                  <a:cubicBezTo>
                    <a:pt x="1349" y="974"/>
                    <a:pt x="1347" y="998"/>
                    <a:pt x="1343" y="1021"/>
                  </a:cubicBezTo>
                  <a:cubicBezTo>
                    <a:pt x="1328" y="1014"/>
                    <a:pt x="1314" y="1005"/>
                    <a:pt x="1299" y="996"/>
                  </a:cubicBezTo>
                  <a:cubicBezTo>
                    <a:pt x="1283" y="987"/>
                    <a:pt x="1274" y="994"/>
                    <a:pt x="1272" y="1009"/>
                  </a:cubicBezTo>
                  <a:cubicBezTo>
                    <a:pt x="1244" y="1200"/>
                    <a:pt x="1086" y="1341"/>
                    <a:pt x="894" y="1341"/>
                  </a:cubicBezTo>
                  <a:cubicBezTo>
                    <a:pt x="763" y="1341"/>
                    <a:pt x="691" y="1290"/>
                    <a:pt x="672" y="1250"/>
                  </a:cubicBezTo>
                  <a:cubicBezTo>
                    <a:pt x="662" y="1253"/>
                    <a:pt x="654" y="1262"/>
                    <a:pt x="654" y="1276"/>
                  </a:cubicBezTo>
                  <a:cubicBezTo>
                    <a:pt x="654" y="1300"/>
                    <a:pt x="694" y="1327"/>
                    <a:pt x="721" y="1340"/>
                  </a:cubicBezTo>
                  <a:cubicBezTo>
                    <a:pt x="761" y="1360"/>
                    <a:pt x="815" y="1377"/>
                    <a:pt x="894" y="1377"/>
                  </a:cubicBezTo>
                  <a:cubicBezTo>
                    <a:pt x="1095" y="1377"/>
                    <a:pt x="1261" y="1235"/>
                    <a:pt x="1303" y="1040"/>
                  </a:cubicBezTo>
                  <a:cubicBezTo>
                    <a:pt x="1314" y="1046"/>
                    <a:pt x="1325" y="1052"/>
                    <a:pt x="1337" y="1058"/>
                  </a:cubicBezTo>
                  <a:cubicBezTo>
                    <a:pt x="1290" y="1261"/>
                    <a:pt x="1113" y="1413"/>
                    <a:pt x="895" y="1413"/>
                  </a:cubicBezTo>
                  <a:cubicBezTo>
                    <a:pt x="713" y="1413"/>
                    <a:pt x="621" y="1325"/>
                    <a:pt x="616" y="1296"/>
                  </a:cubicBezTo>
                  <a:cubicBezTo>
                    <a:pt x="602" y="1296"/>
                    <a:pt x="594" y="1307"/>
                    <a:pt x="594" y="1320"/>
                  </a:cubicBezTo>
                  <a:cubicBezTo>
                    <a:pt x="594" y="1335"/>
                    <a:pt x="606" y="1350"/>
                    <a:pt x="619" y="1361"/>
                  </a:cubicBezTo>
                  <a:cubicBezTo>
                    <a:pt x="653" y="1392"/>
                    <a:pt x="738" y="1449"/>
                    <a:pt x="895" y="1449"/>
                  </a:cubicBezTo>
                  <a:cubicBezTo>
                    <a:pt x="1103" y="1449"/>
                    <a:pt x="1277" y="1320"/>
                    <a:pt x="1349" y="1138"/>
                  </a:cubicBezTo>
                  <a:cubicBezTo>
                    <a:pt x="1359" y="1143"/>
                    <a:pt x="1371" y="1147"/>
                    <a:pt x="1382" y="1152"/>
                  </a:cubicBezTo>
                  <a:cubicBezTo>
                    <a:pt x="1304" y="1348"/>
                    <a:pt x="1116" y="1485"/>
                    <a:pt x="894" y="1485"/>
                  </a:cubicBezTo>
                  <a:cubicBezTo>
                    <a:pt x="688" y="1485"/>
                    <a:pt x="549" y="1379"/>
                    <a:pt x="534" y="1297"/>
                  </a:cubicBezTo>
                  <a:cubicBezTo>
                    <a:pt x="522" y="1297"/>
                    <a:pt x="509" y="1308"/>
                    <a:pt x="509" y="1325"/>
                  </a:cubicBezTo>
                  <a:cubicBezTo>
                    <a:pt x="509" y="1338"/>
                    <a:pt x="520" y="1357"/>
                    <a:pt x="523" y="1362"/>
                  </a:cubicBezTo>
                  <a:cubicBezTo>
                    <a:pt x="554" y="1410"/>
                    <a:pt x="665" y="1521"/>
                    <a:pt x="894" y="1521"/>
                  </a:cubicBezTo>
                  <a:cubicBezTo>
                    <a:pt x="1132" y="1521"/>
                    <a:pt x="1334" y="1373"/>
                    <a:pt x="1416" y="1162"/>
                  </a:cubicBezTo>
                  <a:cubicBezTo>
                    <a:pt x="1455" y="1173"/>
                    <a:pt x="1501" y="1179"/>
                    <a:pt x="1557" y="1179"/>
                  </a:cubicBezTo>
                  <a:cubicBezTo>
                    <a:pt x="1928" y="1179"/>
                    <a:pt x="2065" y="901"/>
                    <a:pt x="2089" y="800"/>
                  </a:cubicBezTo>
                  <a:cubicBezTo>
                    <a:pt x="2104" y="734"/>
                    <a:pt x="2096" y="711"/>
                    <a:pt x="2062" y="711"/>
                  </a:cubicBezTo>
                  <a:close/>
                  <a:moveTo>
                    <a:pt x="1002" y="465"/>
                  </a:moveTo>
                  <a:cubicBezTo>
                    <a:pt x="964" y="456"/>
                    <a:pt x="925" y="451"/>
                    <a:pt x="885" y="451"/>
                  </a:cubicBezTo>
                  <a:cubicBezTo>
                    <a:pt x="610" y="451"/>
                    <a:pt x="386" y="675"/>
                    <a:pt x="386" y="950"/>
                  </a:cubicBezTo>
                  <a:cubicBezTo>
                    <a:pt x="386" y="982"/>
                    <a:pt x="388" y="1021"/>
                    <a:pt x="400" y="1055"/>
                  </a:cubicBezTo>
                  <a:cubicBezTo>
                    <a:pt x="364" y="1065"/>
                    <a:pt x="351" y="1028"/>
                    <a:pt x="351" y="984"/>
                  </a:cubicBezTo>
                  <a:cubicBezTo>
                    <a:pt x="351" y="984"/>
                    <a:pt x="351" y="979"/>
                    <a:pt x="351" y="968"/>
                  </a:cubicBezTo>
                  <a:cubicBezTo>
                    <a:pt x="354" y="837"/>
                    <a:pt x="385" y="763"/>
                    <a:pt x="385" y="763"/>
                  </a:cubicBezTo>
                  <a:cubicBezTo>
                    <a:pt x="422" y="661"/>
                    <a:pt x="490" y="577"/>
                    <a:pt x="577" y="514"/>
                  </a:cubicBezTo>
                  <a:cubicBezTo>
                    <a:pt x="667" y="449"/>
                    <a:pt x="774" y="415"/>
                    <a:pt x="885" y="415"/>
                  </a:cubicBezTo>
                  <a:cubicBezTo>
                    <a:pt x="928" y="415"/>
                    <a:pt x="971" y="420"/>
                    <a:pt x="1012" y="430"/>
                  </a:cubicBezTo>
                  <a:cubicBezTo>
                    <a:pt x="1008" y="441"/>
                    <a:pt x="1005" y="453"/>
                    <a:pt x="1002" y="465"/>
                  </a:cubicBezTo>
                  <a:close/>
                  <a:moveTo>
                    <a:pt x="1162" y="535"/>
                  </a:moveTo>
                  <a:cubicBezTo>
                    <a:pt x="1166" y="523"/>
                    <a:pt x="1169" y="511"/>
                    <a:pt x="1173" y="499"/>
                  </a:cubicBezTo>
                  <a:cubicBezTo>
                    <a:pt x="1324" y="595"/>
                    <a:pt x="1421" y="764"/>
                    <a:pt x="1421" y="950"/>
                  </a:cubicBezTo>
                  <a:cubicBezTo>
                    <a:pt x="1421" y="959"/>
                    <a:pt x="1420" y="968"/>
                    <a:pt x="1420" y="978"/>
                  </a:cubicBezTo>
                  <a:cubicBezTo>
                    <a:pt x="1406" y="973"/>
                    <a:pt x="1394" y="969"/>
                    <a:pt x="1384" y="964"/>
                  </a:cubicBezTo>
                  <a:cubicBezTo>
                    <a:pt x="1384" y="960"/>
                    <a:pt x="1384" y="955"/>
                    <a:pt x="1384" y="950"/>
                  </a:cubicBezTo>
                  <a:cubicBezTo>
                    <a:pt x="1384" y="777"/>
                    <a:pt x="1296" y="625"/>
                    <a:pt x="1162" y="53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172708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" userDrawn="1">
          <p15:clr>
            <a:srgbClr val="FBAE40"/>
          </p15:clr>
        </p15:guide>
        <p15:guide id="2" orient="horz" pos="1350" userDrawn="1">
          <p15:clr>
            <a:srgbClr val="FBAE40"/>
          </p15:clr>
        </p15:guide>
        <p15:guide id="3" orient="horz" pos="201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5_Cover_approved_question_tall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7144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2" imgH="353" progId="TCLayout.ActiveDocument.1">
                  <p:embed/>
                </p:oleObj>
              </mc:Choice>
              <mc:Fallback>
                <p:oleObj name="think-cell Folie" r:id="rId4" imgW="352" imgH="353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2D2DA"/>
          </a:solidFill>
          <a:ln w="12700" cap="sq" cmpd="sng" algn="ctr">
            <a:noFill/>
            <a:prstDash val="solid"/>
            <a:miter lim="800000"/>
            <a:tailEnd type="none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000" b="0" i="0" u="none" strike="noStrike" kern="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pic>
        <p:nvPicPr>
          <p:cNvPr id="85" name="Picture 74">
            <a:extLst>
              <a:ext uri="{FF2B5EF4-FFF2-40B4-BE49-F238E27FC236}">
                <a16:creationId xmlns:a16="http://schemas.microsoft.com/office/drawing/2014/main" id="{32889845-07EE-48FB-A972-F8ECF1EF871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8350" cy="6858000"/>
          </a:xfrm>
          <a:prstGeom prst="rect">
            <a:avLst/>
          </a:prstGeom>
        </p:spPr>
      </p:pic>
      <p:grpSp>
        <p:nvGrpSpPr>
          <p:cNvPr id="186" name="Group 185">
            <a:extLst>
              <a:ext uri="{FF2B5EF4-FFF2-40B4-BE49-F238E27FC236}">
                <a16:creationId xmlns:a16="http://schemas.microsoft.com/office/drawing/2014/main" id="{9CDE954B-B280-441B-9B2D-3DC58AAE3926}"/>
              </a:ext>
            </a:extLst>
          </p:cNvPr>
          <p:cNvGrpSpPr/>
          <p:nvPr userDrawn="1"/>
        </p:nvGrpSpPr>
        <p:grpSpPr>
          <a:xfrm>
            <a:off x="622940" y="5826612"/>
            <a:ext cx="3878023" cy="570195"/>
            <a:chOff x="498115" y="5951018"/>
            <a:chExt cx="3878023" cy="570195"/>
          </a:xfrm>
          <a:solidFill>
            <a:srgbClr val="FFFFFF"/>
          </a:solidFill>
        </p:grpSpPr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93D8FAC8-9530-49D4-8284-D35D1B1509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88" name="Rectangle 6">
              <a:extLst>
                <a:ext uri="{FF2B5EF4-FFF2-40B4-BE49-F238E27FC236}">
                  <a16:creationId xmlns:a16="http://schemas.microsoft.com/office/drawing/2014/main" id="{FD924F44-93C1-4254-B594-53DB14FD99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89" name="Rectangle 7">
              <a:extLst>
                <a:ext uri="{FF2B5EF4-FFF2-40B4-BE49-F238E27FC236}">
                  <a16:creationId xmlns:a16="http://schemas.microsoft.com/office/drawing/2014/main" id="{2A2DA425-7935-45A1-B63F-2D14CF8D5F9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90" name="Freeform 8">
              <a:extLst>
                <a:ext uri="{FF2B5EF4-FFF2-40B4-BE49-F238E27FC236}">
                  <a16:creationId xmlns:a16="http://schemas.microsoft.com/office/drawing/2014/main" id="{91EFF75E-13E7-4E35-B108-D9FD5E9C80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1" name="Freeform 9">
              <a:extLst>
                <a:ext uri="{FF2B5EF4-FFF2-40B4-BE49-F238E27FC236}">
                  <a16:creationId xmlns:a16="http://schemas.microsoft.com/office/drawing/2014/main" id="{4411951F-E009-4FE7-B2EC-47771CA8E1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2" name="Freeform 10">
              <a:extLst>
                <a:ext uri="{FF2B5EF4-FFF2-40B4-BE49-F238E27FC236}">
                  <a16:creationId xmlns:a16="http://schemas.microsoft.com/office/drawing/2014/main" id="{B28EE49C-5F5A-49C6-AEB8-6D12DDF344E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3" name="Freeform 11">
              <a:extLst>
                <a:ext uri="{FF2B5EF4-FFF2-40B4-BE49-F238E27FC236}">
                  <a16:creationId xmlns:a16="http://schemas.microsoft.com/office/drawing/2014/main" id="{6E2B7D76-D660-491F-8B04-169C6F138B0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4" name="Freeform 12">
              <a:extLst>
                <a:ext uri="{FF2B5EF4-FFF2-40B4-BE49-F238E27FC236}">
                  <a16:creationId xmlns:a16="http://schemas.microsoft.com/office/drawing/2014/main" id="{41BE51DE-402B-48B5-99C8-D8BB9A32DF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5" name="Freeform 13">
              <a:extLst>
                <a:ext uri="{FF2B5EF4-FFF2-40B4-BE49-F238E27FC236}">
                  <a16:creationId xmlns:a16="http://schemas.microsoft.com/office/drawing/2014/main" id="{8D5E878B-8859-44FA-A69D-DCE630AAB0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6" name="Freeform 14">
              <a:extLst>
                <a:ext uri="{FF2B5EF4-FFF2-40B4-BE49-F238E27FC236}">
                  <a16:creationId xmlns:a16="http://schemas.microsoft.com/office/drawing/2014/main" id="{08D55808-ECDC-4E9B-84ED-7301E9E716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7" name="Freeform 15">
              <a:extLst>
                <a:ext uri="{FF2B5EF4-FFF2-40B4-BE49-F238E27FC236}">
                  <a16:creationId xmlns:a16="http://schemas.microsoft.com/office/drawing/2014/main" id="{3436B310-313E-4A53-A70D-CA0D0D97FE7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8" name="Freeform 16">
              <a:extLst>
                <a:ext uri="{FF2B5EF4-FFF2-40B4-BE49-F238E27FC236}">
                  <a16:creationId xmlns:a16="http://schemas.microsoft.com/office/drawing/2014/main" id="{F3CE55A9-AE55-4169-A58D-8171D9916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9" name="Freeform 17">
              <a:extLst>
                <a:ext uri="{FF2B5EF4-FFF2-40B4-BE49-F238E27FC236}">
                  <a16:creationId xmlns:a16="http://schemas.microsoft.com/office/drawing/2014/main" id="{FA01BC48-4605-46FC-A7AC-192C7DBCA0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0" name="Freeform 18">
              <a:extLst>
                <a:ext uri="{FF2B5EF4-FFF2-40B4-BE49-F238E27FC236}">
                  <a16:creationId xmlns:a16="http://schemas.microsoft.com/office/drawing/2014/main" id="{870190F3-472B-4296-B88D-D6904B9F3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1" name="Freeform 19">
              <a:extLst>
                <a:ext uri="{FF2B5EF4-FFF2-40B4-BE49-F238E27FC236}">
                  <a16:creationId xmlns:a16="http://schemas.microsoft.com/office/drawing/2014/main" id="{6CEA0F2B-4AAB-4A16-B7F1-CFCB0C0DCE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2" name="Freeform 20">
              <a:extLst>
                <a:ext uri="{FF2B5EF4-FFF2-40B4-BE49-F238E27FC236}">
                  <a16:creationId xmlns:a16="http://schemas.microsoft.com/office/drawing/2014/main" id="{CD64F657-7EE7-4AF2-ADE4-160C87E64D6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3" name="Freeform 21">
              <a:extLst>
                <a:ext uri="{FF2B5EF4-FFF2-40B4-BE49-F238E27FC236}">
                  <a16:creationId xmlns:a16="http://schemas.microsoft.com/office/drawing/2014/main" id="{FA80A690-9084-4519-8D88-A01963C023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4" name="Freeform 22">
              <a:extLst>
                <a:ext uri="{FF2B5EF4-FFF2-40B4-BE49-F238E27FC236}">
                  <a16:creationId xmlns:a16="http://schemas.microsoft.com/office/drawing/2014/main" id="{E847401D-2482-482A-AC12-D2E83C13546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5" name="Freeform 23">
              <a:extLst>
                <a:ext uri="{FF2B5EF4-FFF2-40B4-BE49-F238E27FC236}">
                  <a16:creationId xmlns:a16="http://schemas.microsoft.com/office/drawing/2014/main" id="{86054F72-4509-4465-B9A8-8DAE3EFD35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6" name="Freeform 24">
              <a:extLst>
                <a:ext uri="{FF2B5EF4-FFF2-40B4-BE49-F238E27FC236}">
                  <a16:creationId xmlns:a16="http://schemas.microsoft.com/office/drawing/2014/main" id="{813850E4-4B62-4FDA-ABD6-F5A5AA5E7C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7" name="Freeform 25">
              <a:extLst>
                <a:ext uri="{FF2B5EF4-FFF2-40B4-BE49-F238E27FC236}">
                  <a16:creationId xmlns:a16="http://schemas.microsoft.com/office/drawing/2014/main" id="{1B4F0124-2FAE-4D54-9ECC-E88A8031BB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8" name="Freeform 26">
              <a:extLst>
                <a:ext uri="{FF2B5EF4-FFF2-40B4-BE49-F238E27FC236}">
                  <a16:creationId xmlns:a16="http://schemas.microsoft.com/office/drawing/2014/main" id="{2A730E5F-DF9C-488E-B4E0-EE9F501529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9" name="Freeform 27">
              <a:extLst>
                <a:ext uri="{FF2B5EF4-FFF2-40B4-BE49-F238E27FC236}">
                  <a16:creationId xmlns:a16="http://schemas.microsoft.com/office/drawing/2014/main" id="{39861D7E-D8DA-436F-9E2F-5C08A8BFB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0" name="Freeform 28">
              <a:extLst>
                <a:ext uri="{FF2B5EF4-FFF2-40B4-BE49-F238E27FC236}">
                  <a16:creationId xmlns:a16="http://schemas.microsoft.com/office/drawing/2014/main" id="{8B038F9F-6A9C-4E57-A659-0090AF4705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1" name="Freeform 29">
              <a:extLst>
                <a:ext uri="{FF2B5EF4-FFF2-40B4-BE49-F238E27FC236}">
                  <a16:creationId xmlns:a16="http://schemas.microsoft.com/office/drawing/2014/main" id="{15E4EB7D-754D-4053-9A23-596C7CFDA9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2" name="Freeform 30">
              <a:extLst>
                <a:ext uri="{FF2B5EF4-FFF2-40B4-BE49-F238E27FC236}">
                  <a16:creationId xmlns:a16="http://schemas.microsoft.com/office/drawing/2014/main" id="{28E147CB-2B8F-497B-B00B-C25E679DC5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3" name="Freeform 31">
              <a:extLst>
                <a:ext uri="{FF2B5EF4-FFF2-40B4-BE49-F238E27FC236}">
                  <a16:creationId xmlns:a16="http://schemas.microsoft.com/office/drawing/2014/main" id="{E68BC676-C787-429D-B59B-1A5CE062F7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4" name="Freeform 32">
              <a:extLst>
                <a:ext uri="{FF2B5EF4-FFF2-40B4-BE49-F238E27FC236}">
                  <a16:creationId xmlns:a16="http://schemas.microsoft.com/office/drawing/2014/main" id="{71266960-73CB-44B9-9A97-8108589891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5" name="Freeform 33">
              <a:extLst>
                <a:ext uri="{FF2B5EF4-FFF2-40B4-BE49-F238E27FC236}">
                  <a16:creationId xmlns:a16="http://schemas.microsoft.com/office/drawing/2014/main" id="{3FF3AC5A-B742-4B29-8E04-03A71D82B9A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6" name="Freeform 34">
              <a:extLst>
                <a:ext uri="{FF2B5EF4-FFF2-40B4-BE49-F238E27FC236}">
                  <a16:creationId xmlns:a16="http://schemas.microsoft.com/office/drawing/2014/main" id="{0C912743-E24B-4E48-8196-5FBD1ECEE9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7" name="Freeform 35">
              <a:extLst>
                <a:ext uri="{FF2B5EF4-FFF2-40B4-BE49-F238E27FC236}">
                  <a16:creationId xmlns:a16="http://schemas.microsoft.com/office/drawing/2014/main" id="{6E2F01F4-1410-4FE1-B043-EA97A1541F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8" name="Freeform 36">
              <a:extLst>
                <a:ext uri="{FF2B5EF4-FFF2-40B4-BE49-F238E27FC236}">
                  <a16:creationId xmlns:a16="http://schemas.microsoft.com/office/drawing/2014/main" id="{58ACFF1C-49F0-414E-B9E3-DE4E9FFAA3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9" name="Freeform 37">
              <a:extLst>
                <a:ext uri="{FF2B5EF4-FFF2-40B4-BE49-F238E27FC236}">
                  <a16:creationId xmlns:a16="http://schemas.microsoft.com/office/drawing/2014/main" id="{DACBD04B-22FF-4A4F-8B29-A2F31A054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0" name="Freeform 38">
              <a:extLst>
                <a:ext uri="{FF2B5EF4-FFF2-40B4-BE49-F238E27FC236}">
                  <a16:creationId xmlns:a16="http://schemas.microsoft.com/office/drawing/2014/main" id="{A13F6E37-C22B-4FD3-ADFE-9C53ECB446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1" name="Freeform 39">
              <a:extLst>
                <a:ext uri="{FF2B5EF4-FFF2-40B4-BE49-F238E27FC236}">
                  <a16:creationId xmlns:a16="http://schemas.microsoft.com/office/drawing/2014/main" id="{76256F1D-405A-49F9-8592-A899623F2D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2" name="Freeform 40">
              <a:extLst>
                <a:ext uri="{FF2B5EF4-FFF2-40B4-BE49-F238E27FC236}">
                  <a16:creationId xmlns:a16="http://schemas.microsoft.com/office/drawing/2014/main" id="{2F9CAE14-DB05-4B70-867F-3F6164BDB7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3" name="Freeform 41">
              <a:extLst>
                <a:ext uri="{FF2B5EF4-FFF2-40B4-BE49-F238E27FC236}">
                  <a16:creationId xmlns:a16="http://schemas.microsoft.com/office/drawing/2014/main" id="{30C7B10F-7027-41F9-BEE2-F1575CB690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4" name="Freeform 42">
              <a:extLst>
                <a:ext uri="{FF2B5EF4-FFF2-40B4-BE49-F238E27FC236}">
                  <a16:creationId xmlns:a16="http://schemas.microsoft.com/office/drawing/2014/main" id="{16B384B2-A2D9-4CB4-AF87-AF1004852B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5" name="Freeform 43">
              <a:extLst>
                <a:ext uri="{FF2B5EF4-FFF2-40B4-BE49-F238E27FC236}">
                  <a16:creationId xmlns:a16="http://schemas.microsoft.com/office/drawing/2014/main" id="{DC309D60-84B9-4652-BEF1-F71EFAD3A4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6" name="Freeform 44">
              <a:extLst>
                <a:ext uri="{FF2B5EF4-FFF2-40B4-BE49-F238E27FC236}">
                  <a16:creationId xmlns:a16="http://schemas.microsoft.com/office/drawing/2014/main" id="{A4440044-5486-483F-B652-7EE3849461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7" name="Freeform 45">
              <a:extLst>
                <a:ext uri="{FF2B5EF4-FFF2-40B4-BE49-F238E27FC236}">
                  <a16:creationId xmlns:a16="http://schemas.microsoft.com/office/drawing/2014/main" id="{446771E9-EA09-4256-8955-FE392C07AFC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8" name="Freeform 46">
              <a:extLst>
                <a:ext uri="{FF2B5EF4-FFF2-40B4-BE49-F238E27FC236}">
                  <a16:creationId xmlns:a16="http://schemas.microsoft.com/office/drawing/2014/main" id="{FE985025-CAA5-44F2-9174-87CD1D8B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9" name="Freeform 47">
              <a:extLst>
                <a:ext uri="{FF2B5EF4-FFF2-40B4-BE49-F238E27FC236}">
                  <a16:creationId xmlns:a16="http://schemas.microsoft.com/office/drawing/2014/main" id="{1105FBBE-AD06-4F22-94D8-E2E98185FA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30" name="Freeform 48">
              <a:extLst>
                <a:ext uri="{FF2B5EF4-FFF2-40B4-BE49-F238E27FC236}">
                  <a16:creationId xmlns:a16="http://schemas.microsoft.com/office/drawing/2014/main" id="{8141824A-6AD4-4B53-B837-71461DD538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31" name="Freeform 49">
              <a:extLst>
                <a:ext uri="{FF2B5EF4-FFF2-40B4-BE49-F238E27FC236}">
                  <a16:creationId xmlns:a16="http://schemas.microsoft.com/office/drawing/2014/main" id="{1CEF1D95-CD6C-417A-9539-CB4DBAA5E0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32" name="Freeform 50">
              <a:extLst>
                <a:ext uri="{FF2B5EF4-FFF2-40B4-BE49-F238E27FC236}">
                  <a16:creationId xmlns:a16="http://schemas.microsoft.com/office/drawing/2014/main" id="{BF6CB5D3-9648-4D73-AB7C-5374814E5BA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33" name="Freeform 51">
              <a:extLst>
                <a:ext uri="{FF2B5EF4-FFF2-40B4-BE49-F238E27FC236}">
                  <a16:creationId xmlns:a16="http://schemas.microsoft.com/office/drawing/2014/main" id="{55F0E322-3AEE-482E-8E59-9FB04FACA9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34" name="Freeform 52">
              <a:extLst>
                <a:ext uri="{FF2B5EF4-FFF2-40B4-BE49-F238E27FC236}">
                  <a16:creationId xmlns:a16="http://schemas.microsoft.com/office/drawing/2014/main" id="{0D3C59AD-7CCF-4166-9D21-3C348488931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35" name="Freeform 53">
              <a:extLst>
                <a:ext uri="{FF2B5EF4-FFF2-40B4-BE49-F238E27FC236}">
                  <a16:creationId xmlns:a16="http://schemas.microsoft.com/office/drawing/2014/main" id="{9C9DA4CE-7B4D-42AE-9264-92B7D7757D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36" name="Freeform 54">
              <a:extLst>
                <a:ext uri="{FF2B5EF4-FFF2-40B4-BE49-F238E27FC236}">
                  <a16:creationId xmlns:a16="http://schemas.microsoft.com/office/drawing/2014/main" id="{DBCBD0D2-5C9C-4B12-8CF8-9CA320825E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37" name="Freeform 55">
              <a:extLst>
                <a:ext uri="{FF2B5EF4-FFF2-40B4-BE49-F238E27FC236}">
                  <a16:creationId xmlns:a16="http://schemas.microsoft.com/office/drawing/2014/main" id="{CDCFBD31-7961-4587-876E-1FAFC4E74A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38" name="Freeform 56">
              <a:extLst>
                <a:ext uri="{FF2B5EF4-FFF2-40B4-BE49-F238E27FC236}">
                  <a16:creationId xmlns:a16="http://schemas.microsoft.com/office/drawing/2014/main" id="{52482C08-723A-4738-9787-3516B3C171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39" name="Freeform 57">
              <a:extLst>
                <a:ext uri="{FF2B5EF4-FFF2-40B4-BE49-F238E27FC236}">
                  <a16:creationId xmlns:a16="http://schemas.microsoft.com/office/drawing/2014/main" id="{5B72A8F0-33E3-42CD-88C2-C35BEC0E98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40" name="Freeform 58">
              <a:extLst>
                <a:ext uri="{FF2B5EF4-FFF2-40B4-BE49-F238E27FC236}">
                  <a16:creationId xmlns:a16="http://schemas.microsoft.com/office/drawing/2014/main" id="{73FC54A2-6588-499B-968A-79F4CA9CF5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41" name="Freeform 59">
              <a:extLst>
                <a:ext uri="{FF2B5EF4-FFF2-40B4-BE49-F238E27FC236}">
                  <a16:creationId xmlns:a16="http://schemas.microsoft.com/office/drawing/2014/main" id="{1E6AB002-C130-4648-A18E-BA496FF1756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42" name="Freeform 60">
              <a:extLst>
                <a:ext uri="{FF2B5EF4-FFF2-40B4-BE49-F238E27FC236}">
                  <a16:creationId xmlns:a16="http://schemas.microsoft.com/office/drawing/2014/main" id="{B0044278-9F7F-4596-96D2-ACFBE0DEC0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43" name="Freeform 61">
              <a:extLst>
                <a:ext uri="{FF2B5EF4-FFF2-40B4-BE49-F238E27FC236}">
                  <a16:creationId xmlns:a16="http://schemas.microsoft.com/office/drawing/2014/main" id="{79F75E0D-27A7-44C1-BF19-495F4768F99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44" name="Freeform 62">
              <a:extLst>
                <a:ext uri="{FF2B5EF4-FFF2-40B4-BE49-F238E27FC236}">
                  <a16:creationId xmlns:a16="http://schemas.microsoft.com/office/drawing/2014/main" id="{E5B9E395-C74C-4D98-8911-EE2C765D8B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45" name="Freeform 63">
              <a:extLst>
                <a:ext uri="{FF2B5EF4-FFF2-40B4-BE49-F238E27FC236}">
                  <a16:creationId xmlns:a16="http://schemas.microsoft.com/office/drawing/2014/main" id="{53BB8418-388C-4142-9A80-8BF00A87F7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46" name="Freeform 64">
              <a:extLst>
                <a:ext uri="{FF2B5EF4-FFF2-40B4-BE49-F238E27FC236}">
                  <a16:creationId xmlns:a16="http://schemas.microsoft.com/office/drawing/2014/main" id="{0256DB41-B3C1-4FEB-B394-9762C00E7F7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47" name="Freeform 65">
              <a:extLst>
                <a:ext uri="{FF2B5EF4-FFF2-40B4-BE49-F238E27FC236}">
                  <a16:creationId xmlns:a16="http://schemas.microsoft.com/office/drawing/2014/main" id="{F2BC9C1F-3F30-47A6-B503-20FB179B7F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48" name="Freeform 66">
              <a:extLst>
                <a:ext uri="{FF2B5EF4-FFF2-40B4-BE49-F238E27FC236}">
                  <a16:creationId xmlns:a16="http://schemas.microsoft.com/office/drawing/2014/main" id="{F2E1921C-CA0E-4886-93CA-956A6497CF0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49" name="Freeform 67">
              <a:extLst>
                <a:ext uri="{FF2B5EF4-FFF2-40B4-BE49-F238E27FC236}">
                  <a16:creationId xmlns:a16="http://schemas.microsoft.com/office/drawing/2014/main" id="{33147323-CD74-4B45-8B3D-9FC2D6ABC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50" name="Freeform 68">
              <a:extLst>
                <a:ext uri="{FF2B5EF4-FFF2-40B4-BE49-F238E27FC236}">
                  <a16:creationId xmlns:a16="http://schemas.microsoft.com/office/drawing/2014/main" id="{646502BE-8655-4E99-B8D3-19E6C1D2B9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51" name="Freeform 69">
              <a:extLst>
                <a:ext uri="{FF2B5EF4-FFF2-40B4-BE49-F238E27FC236}">
                  <a16:creationId xmlns:a16="http://schemas.microsoft.com/office/drawing/2014/main" id="{7B89F1B5-6B06-45D2-838B-039A44EFFD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52" name="Freeform 70">
              <a:extLst>
                <a:ext uri="{FF2B5EF4-FFF2-40B4-BE49-F238E27FC236}">
                  <a16:creationId xmlns:a16="http://schemas.microsoft.com/office/drawing/2014/main" id="{07A005EC-C937-4146-8D02-C00C5931EB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  <p:sp>
        <p:nvSpPr>
          <p:cNvPr id="263" name="Title 1">
            <a:extLst>
              <a:ext uri="{FF2B5EF4-FFF2-40B4-BE49-F238E27FC236}">
                <a16:creationId xmlns:a16="http://schemas.microsoft.com/office/drawing/2014/main" id="{3F36D6CC-3534-47CC-AECE-83EDA4639FB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1069705" y="2158329"/>
            <a:ext cx="4020820" cy="860400"/>
          </a:xfrm>
          <a:prstGeom prst="rect">
            <a:avLst/>
          </a:prstGeom>
        </p:spPr>
        <p:txBody>
          <a:bodyPr/>
          <a:lstStyle>
            <a:lvl1pPr>
              <a:defRPr sz="3000" b="0">
                <a:solidFill>
                  <a:srgbClr val="FFFFFF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264" name="Subtitle 2">
            <a:extLst>
              <a:ext uri="{FF2B5EF4-FFF2-40B4-BE49-F238E27FC236}">
                <a16:creationId xmlns:a16="http://schemas.microsoft.com/office/drawing/2014/main" id="{C26FB38E-4E99-4AFB-8C8C-F03F7A963D9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1069897" y="3200329"/>
            <a:ext cx="4020628" cy="64574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FFFFFF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AE95BC52-A56D-4358-A294-750179EBB698}"/>
              </a:ext>
            </a:extLst>
          </p:cNvPr>
          <p:cNvGrpSpPr/>
          <p:nvPr userDrawn="1"/>
        </p:nvGrpSpPr>
        <p:grpSpPr>
          <a:xfrm>
            <a:off x="614191" y="876058"/>
            <a:ext cx="4855295" cy="3374475"/>
            <a:chOff x="6855933" y="899048"/>
            <a:chExt cx="4855295" cy="3374475"/>
          </a:xfrm>
          <a:solidFill>
            <a:schemeClr val="tx2"/>
          </a:solidFill>
        </p:grpSpPr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ECBD2AD5-9A79-4CFE-A808-769ADC8898F3}"/>
                </a:ext>
              </a:extLst>
            </p:cNvPr>
            <p:cNvSpPr/>
            <p:nvPr/>
          </p:nvSpPr>
          <p:spPr>
            <a:xfrm>
              <a:off x="6855933" y="899048"/>
              <a:ext cx="4855295" cy="3374475"/>
            </a:xfrm>
            <a:custGeom>
              <a:avLst/>
              <a:gdLst>
                <a:gd name="connsiteX0" fmla="*/ 6731 w 4855294"/>
                <a:gd name="connsiteY0" fmla="*/ 863542 h 3374474"/>
                <a:gd name="connsiteX1" fmla="*/ 6731 w 4855294"/>
                <a:gd name="connsiteY1" fmla="*/ 3095901 h 3374474"/>
                <a:gd name="connsiteX2" fmla="*/ 145659 w 4855294"/>
                <a:gd name="connsiteY2" fmla="*/ 3095901 h 3374474"/>
                <a:gd name="connsiteX3" fmla="*/ 145659 w 4855294"/>
                <a:gd name="connsiteY3" fmla="*/ 988380 h 3374474"/>
                <a:gd name="connsiteX4" fmla="*/ 4715918 w 4855294"/>
                <a:gd name="connsiteY4" fmla="*/ 179673 h 3374474"/>
                <a:gd name="connsiteX5" fmla="*/ 4715918 w 4855294"/>
                <a:gd name="connsiteY5" fmla="*/ 3234829 h 3374474"/>
                <a:gd name="connsiteX6" fmla="*/ 840208 w 4855294"/>
                <a:gd name="connsiteY6" fmla="*/ 3234829 h 3374474"/>
                <a:gd name="connsiteX7" fmla="*/ 840208 w 4855294"/>
                <a:gd name="connsiteY7" fmla="*/ 3373757 h 3374474"/>
                <a:gd name="connsiteX8" fmla="*/ 4854846 w 4855294"/>
                <a:gd name="connsiteY8" fmla="*/ 3373757 h 3374474"/>
                <a:gd name="connsiteX9" fmla="*/ 4854846 w 4855294"/>
                <a:gd name="connsiteY9" fmla="*/ 6731 h 3374474"/>
                <a:gd name="connsiteX10" fmla="*/ 6731 w 4855294"/>
                <a:gd name="connsiteY10" fmla="*/ 863542 h 3374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855294" h="3374474">
                  <a:moveTo>
                    <a:pt x="6731" y="863542"/>
                  </a:moveTo>
                  <a:lnTo>
                    <a:pt x="6731" y="3095901"/>
                  </a:lnTo>
                  <a:lnTo>
                    <a:pt x="145659" y="3095901"/>
                  </a:lnTo>
                  <a:lnTo>
                    <a:pt x="145659" y="988380"/>
                  </a:lnTo>
                  <a:lnTo>
                    <a:pt x="4715918" y="179673"/>
                  </a:lnTo>
                  <a:lnTo>
                    <a:pt x="4715918" y="3234829"/>
                  </a:lnTo>
                  <a:lnTo>
                    <a:pt x="840208" y="3234829"/>
                  </a:lnTo>
                  <a:lnTo>
                    <a:pt x="840208" y="3373757"/>
                  </a:lnTo>
                  <a:lnTo>
                    <a:pt x="4854846" y="3373757"/>
                  </a:lnTo>
                  <a:lnTo>
                    <a:pt x="4854846" y="6731"/>
                  </a:lnTo>
                  <a:lnTo>
                    <a:pt x="6731" y="86354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noProof="0" dirty="0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9EE673CB-A779-4F64-B72D-93428DD2B26D}"/>
                </a:ext>
              </a:extLst>
            </p:cNvPr>
            <p:cNvSpPr/>
            <p:nvPr/>
          </p:nvSpPr>
          <p:spPr>
            <a:xfrm>
              <a:off x="6855933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noProof="0" dirty="0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88144C98-507D-403B-8819-FBBF64A82FA3}"/>
                </a:ext>
              </a:extLst>
            </p:cNvPr>
            <p:cNvSpPr/>
            <p:nvPr/>
          </p:nvSpPr>
          <p:spPr>
            <a:xfrm>
              <a:off x="7133789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noProof="0" dirty="0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21919CB3-2430-4DA6-BF41-59A1EF9C03CB}"/>
                </a:ext>
              </a:extLst>
            </p:cNvPr>
            <p:cNvSpPr/>
            <p:nvPr/>
          </p:nvSpPr>
          <p:spPr>
            <a:xfrm>
              <a:off x="7411555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noProof="0" dirty="0"/>
            </a:p>
          </p:txBody>
        </p:sp>
      </p:grpSp>
      <p:grpSp>
        <p:nvGrpSpPr>
          <p:cNvPr id="82" name="Group 4">
            <a:extLst>
              <a:ext uri="{FF2B5EF4-FFF2-40B4-BE49-F238E27FC236}">
                <a16:creationId xmlns:a16="http://schemas.microsoft.com/office/drawing/2014/main" id="{C5FADEE5-07C4-41A9-88D6-C6D2ED1362B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83" name="Freeform 5">
              <a:extLst>
                <a:ext uri="{FF2B5EF4-FFF2-40B4-BE49-F238E27FC236}">
                  <a16:creationId xmlns:a16="http://schemas.microsoft.com/office/drawing/2014/main" id="{5A2C465B-7D43-431D-A35E-50762E7696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84" name="Freeform 6">
              <a:extLst>
                <a:ext uri="{FF2B5EF4-FFF2-40B4-BE49-F238E27FC236}">
                  <a16:creationId xmlns:a16="http://schemas.microsoft.com/office/drawing/2014/main" id="{AC35E6C1-71A8-4C9D-A1A5-682B0BD0A03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</p:grpSp>
      <p:sp>
        <p:nvSpPr>
          <p:cNvPr id="87" name="Rectangle 9">
            <a:extLst>
              <a:ext uri="{FF2B5EF4-FFF2-40B4-BE49-F238E27FC236}">
                <a16:creationId xmlns:a16="http://schemas.microsoft.com/office/drawing/2014/main" id="{F314F876-941A-40CD-B64C-56E5901EC54D}"/>
              </a:ext>
            </a:extLst>
          </p:cNvPr>
          <p:cNvSpPr/>
          <p:nvPr userDrawn="1"/>
        </p:nvSpPr>
        <p:spPr>
          <a:xfrm>
            <a:off x="-2054226" y="-8465"/>
            <a:ext cx="1952299" cy="2446866"/>
          </a:xfrm>
          <a:prstGeom prst="rect">
            <a:avLst/>
          </a:pr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3972" tIns="53972" rIns="53972" bIns="53972" rtlCol="0" anchor="t" anchorCtr="0"/>
          <a:lstStyle/>
          <a:p>
            <a:pPr>
              <a:spcAft>
                <a:spcPts val="0"/>
              </a:spcAft>
            </a:pPr>
            <a:r>
              <a:rPr lang="en-US" sz="1200" b="1" dirty="0">
                <a:solidFill>
                  <a:srgbClr val="000000"/>
                </a:solidFill>
                <a:latin typeface="EYInterstate Light" panose="02000506000000020004" pitchFamily="2" charset="0"/>
              </a:rPr>
              <a:t>INSTRUCTIONS:</a:t>
            </a:r>
            <a:br>
              <a:rPr lang="en-US" sz="1200" b="1" dirty="0">
                <a:solidFill>
                  <a:srgbClr val="000000"/>
                </a:solidFill>
                <a:latin typeface="EYInterstate Light" panose="02000506000000020004" pitchFamily="2" charset="0"/>
              </a:rPr>
            </a:br>
            <a:r>
              <a:rPr lang="en-US" sz="1200" dirty="0">
                <a:solidFill>
                  <a:srgbClr val="000000"/>
                </a:solidFill>
              </a:rPr>
              <a:t>In order to use this frame cover template, </a:t>
            </a:r>
            <a:br>
              <a:rPr lang="en-US" sz="1200" dirty="0">
                <a:solidFill>
                  <a:srgbClr val="000000"/>
                </a:solidFill>
              </a:rPr>
            </a:br>
            <a:r>
              <a:rPr lang="en-US" sz="1200" dirty="0">
                <a:solidFill>
                  <a:srgbClr val="000000"/>
                </a:solidFill>
              </a:rPr>
              <a:t>an approved EY better question is required. See </a:t>
            </a:r>
            <a:r>
              <a:rPr lang="en-US" sz="1200" u="sng" dirty="0">
                <a:solidFill>
                  <a:srgbClr val="0563C1"/>
                </a:solidFill>
                <a:ea typeface="Calibri" panose="020F0502020204030204" pitchFamily="34" charset="0"/>
                <a:hlinkClick r:id="rId7"/>
              </a:rPr>
              <a:t>http://brandingzone.ey.net/national/bzcontest.nsf/controldocview/BetterQuestions/$file/fullpage.html#firstPage</a:t>
            </a:r>
            <a:r>
              <a:rPr lang="en-US" sz="1200" dirty="0">
                <a:ea typeface="Calibri" panose="020F0502020204030204" pitchFamily="34" charset="0"/>
              </a:rPr>
              <a:t> </a:t>
            </a:r>
            <a:r>
              <a:rPr lang="en-US" sz="1200" dirty="0">
                <a:solidFill>
                  <a:srgbClr val="000000"/>
                </a:solidFill>
              </a:rPr>
              <a:t>for information on how to formulate better questions.</a:t>
            </a:r>
            <a:endParaRPr lang="de-DE" sz="1200" dirty="0">
              <a:solidFill>
                <a:srgbClr val="000000"/>
              </a:solidFill>
            </a:endParaRPr>
          </a:p>
        </p:txBody>
      </p:sp>
      <p:grpSp>
        <p:nvGrpSpPr>
          <p:cNvPr id="86" name="Gruppieren 85"/>
          <p:cNvGrpSpPr/>
          <p:nvPr userDrawn="1"/>
        </p:nvGrpSpPr>
        <p:grpSpPr bwMode="white">
          <a:xfrm>
            <a:off x="9713775" y="440057"/>
            <a:ext cx="1868402" cy="962657"/>
            <a:chOff x="9731769" y="638177"/>
            <a:chExt cx="2017456" cy="1039454"/>
          </a:xfrm>
        </p:grpSpPr>
        <p:sp>
          <p:nvSpPr>
            <p:cNvPr id="88" name="Freeform 5">
              <a:extLst>
                <a:ext uri="{FF2B5EF4-FFF2-40B4-BE49-F238E27FC236}">
                  <a16:creationId xmlns:a16="http://schemas.microsoft.com/office/drawing/2014/main" id="{8A9BDB58-231B-4B70-8059-20CAA94E9F64}"/>
                </a:ext>
              </a:extLst>
            </p:cNvPr>
            <p:cNvSpPr>
              <a:spLocks noEditPoints="1"/>
            </p:cNvSpPr>
            <p:nvPr/>
          </p:nvSpPr>
          <p:spPr bwMode="white">
            <a:xfrm>
              <a:off x="9731769" y="1406980"/>
              <a:ext cx="19613" cy="91524"/>
            </a:xfrm>
            <a:custGeom>
              <a:avLst/>
              <a:gdLst>
                <a:gd name="T0" fmla="*/ 29 w 29"/>
                <a:gd name="T1" fmla="*/ 14 h 134"/>
                <a:gd name="T2" fmla="*/ 28 w 29"/>
                <a:gd name="T3" fmla="*/ 20 h 134"/>
                <a:gd name="T4" fmla="*/ 25 w 29"/>
                <a:gd name="T5" fmla="*/ 25 h 134"/>
                <a:gd name="T6" fmla="*/ 20 w 29"/>
                <a:gd name="T7" fmla="*/ 28 h 134"/>
                <a:gd name="T8" fmla="*/ 15 w 29"/>
                <a:gd name="T9" fmla="*/ 29 h 134"/>
                <a:gd name="T10" fmla="*/ 9 w 29"/>
                <a:gd name="T11" fmla="*/ 28 h 134"/>
                <a:gd name="T12" fmla="*/ 5 w 29"/>
                <a:gd name="T13" fmla="*/ 25 h 134"/>
                <a:gd name="T14" fmla="*/ 1 w 29"/>
                <a:gd name="T15" fmla="*/ 20 h 134"/>
                <a:gd name="T16" fmla="*/ 0 w 29"/>
                <a:gd name="T17" fmla="*/ 14 h 134"/>
                <a:gd name="T18" fmla="*/ 1 w 29"/>
                <a:gd name="T19" fmla="*/ 9 h 134"/>
                <a:gd name="T20" fmla="*/ 5 w 29"/>
                <a:gd name="T21" fmla="*/ 4 h 134"/>
                <a:gd name="T22" fmla="*/ 9 w 29"/>
                <a:gd name="T23" fmla="*/ 1 h 134"/>
                <a:gd name="T24" fmla="*/ 15 w 29"/>
                <a:gd name="T25" fmla="*/ 0 h 134"/>
                <a:gd name="T26" fmla="*/ 20 w 29"/>
                <a:gd name="T27" fmla="*/ 1 h 134"/>
                <a:gd name="T28" fmla="*/ 25 w 29"/>
                <a:gd name="T29" fmla="*/ 4 h 134"/>
                <a:gd name="T30" fmla="*/ 28 w 29"/>
                <a:gd name="T31" fmla="*/ 9 h 134"/>
                <a:gd name="T32" fmla="*/ 29 w 29"/>
                <a:gd name="T33" fmla="*/ 14 h 134"/>
                <a:gd name="T34" fmla="*/ 2 w 29"/>
                <a:gd name="T35" fmla="*/ 134 h 134"/>
                <a:gd name="T36" fmla="*/ 2 w 29"/>
                <a:gd name="T37" fmla="*/ 37 h 134"/>
                <a:gd name="T38" fmla="*/ 28 w 29"/>
                <a:gd name="T39" fmla="*/ 37 h 134"/>
                <a:gd name="T40" fmla="*/ 28 w 29"/>
                <a:gd name="T41" fmla="*/ 134 h 134"/>
                <a:gd name="T42" fmla="*/ 2 w 29"/>
                <a:gd name="T43" fmla="*/ 134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9" h="134">
                  <a:moveTo>
                    <a:pt x="29" y="14"/>
                  </a:moveTo>
                  <a:cubicBezTo>
                    <a:pt x="29" y="16"/>
                    <a:pt x="29" y="18"/>
                    <a:pt x="28" y="20"/>
                  </a:cubicBezTo>
                  <a:cubicBezTo>
                    <a:pt x="28" y="22"/>
                    <a:pt x="26" y="23"/>
                    <a:pt x="25" y="25"/>
                  </a:cubicBezTo>
                  <a:cubicBezTo>
                    <a:pt x="24" y="26"/>
                    <a:pt x="22" y="27"/>
                    <a:pt x="20" y="28"/>
                  </a:cubicBezTo>
                  <a:cubicBezTo>
                    <a:pt x="19" y="29"/>
                    <a:pt x="17" y="29"/>
                    <a:pt x="15" y="29"/>
                  </a:cubicBezTo>
                  <a:cubicBezTo>
                    <a:pt x="13" y="29"/>
                    <a:pt x="11" y="29"/>
                    <a:pt x="9" y="28"/>
                  </a:cubicBezTo>
                  <a:cubicBezTo>
                    <a:pt x="7" y="27"/>
                    <a:pt x="6" y="26"/>
                    <a:pt x="5" y="25"/>
                  </a:cubicBezTo>
                  <a:cubicBezTo>
                    <a:pt x="3" y="23"/>
                    <a:pt x="2" y="22"/>
                    <a:pt x="1" y="20"/>
                  </a:cubicBezTo>
                  <a:cubicBezTo>
                    <a:pt x="1" y="18"/>
                    <a:pt x="0" y="16"/>
                    <a:pt x="0" y="14"/>
                  </a:cubicBezTo>
                  <a:cubicBezTo>
                    <a:pt x="0" y="12"/>
                    <a:pt x="1" y="11"/>
                    <a:pt x="1" y="9"/>
                  </a:cubicBezTo>
                  <a:cubicBezTo>
                    <a:pt x="2" y="7"/>
                    <a:pt x="3" y="5"/>
                    <a:pt x="5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2" y="2"/>
                    <a:pt x="24" y="3"/>
                    <a:pt x="25" y="4"/>
                  </a:cubicBezTo>
                  <a:cubicBezTo>
                    <a:pt x="26" y="5"/>
                    <a:pt x="28" y="7"/>
                    <a:pt x="28" y="9"/>
                  </a:cubicBezTo>
                  <a:cubicBezTo>
                    <a:pt x="29" y="11"/>
                    <a:pt x="29" y="12"/>
                    <a:pt x="29" y="14"/>
                  </a:cubicBezTo>
                  <a:close/>
                  <a:moveTo>
                    <a:pt x="2" y="134"/>
                  </a:moveTo>
                  <a:cubicBezTo>
                    <a:pt x="2" y="37"/>
                    <a:pt x="2" y="37"/>
                    <a:pt x="2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134"/>
                    <a:pt x="28" y="134"/>
                    <a:pt x="28" y="134"/>
                  </a:cubicBezTo>
                  <a:lnTo>
                    <a:pt x="2" y="1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89" name="Freeform 6">
              <a:extLst>
                <a:ext uri="{FF2B5EF4-FFF2-40B4-BE49-F238E27FC236}">
                  <a16:creationId xmlns:a16="http://schemas.microsoft.com/office/drawing/2014/main" id="{97DAE07B-DE87-4358-BA44-6531EF3573CD}"/>
                </a:ext>
              </a:extLst>
            </p:cNvPr>
            <p:cNvSpPr>
              <a:spLocks/>
            </p:cNvSpPr>
            <p:nvPr/>
          </p:nvSpPr>
          <p:spPr bwMode="white">
            <a:xfrm>
              <a:off x="9767071" y="1430515"/>
              <a:ext cx="58837" cy="67989"/>
            </a:xfrm>
            <a:custGeom>
              <a:avLst/>
              <a:gdLst>
                <a:gd name="T0" fmla="*/ 59 w 85"/>
                <a:gd name="T1" fmla="*/ 99 h 99"/>
                <a:gd name="T2" fmla="*/ 59 w 85"/>
                <a:gd name="T3" fmla="*/ 47 h 99"/>
                <a:gd name="T4" fmla="*/ 55 w 85"/>
                <a:gd name="T5" fmla="*/ 30 h 99"/>
                <a:gd name="T6" fmla="*/ 43 w 85"/>
                <a:gd name="T7" fmla="*/ 24 h 99"/>
                <a:gd name="T8" fmla="*/ 35 w 85"/>
                <a:gd name="T9" fmla="*/ 25 h 99"/>
                <a:gd name="T10" fmla="*/ 30 w 85"/>
                <a:gd name="T11" fmla="*/ 29 h 99"/>
                <a:gd name="T12" fmla="*/ 27 w 85"/>
                <a:gd name="T13" fmla="*/ 35 h 99"/>
                <a:gd name="T14" fmla="*/ 26 w 85"/>
                <a:gd name="T15" fmla="*/ 46 h 99"/>
                <a:gd name="T16" fmla="*/ 26 w 85"/>
                <a:gd name="T17" fmla="*/ 99 h 99"/>
                <a:gd name="T18" fmla="*/ 0 w 85"/>
                <a:gd name="T19" fmla="*/ 99 h 99"/>
                <a:gd name="T20" fmla="*/ 0 w 85"/>
                <a:gd name="T21" fmla="*/ 2 h 99"/>
                <a:gd name="T22" fmla="*/ 26 w 85"/>
                <a:gd name="T23" fmla="*/ 2 h 99"/>
                <a:gd name="T24" fmla="*/ 26 w 85"/>
                <a:gd name="T25" fmla="*/ 8 h 99"/>
                <a:gd name="T26" fmla="*/ 30 w 85"/>
                <a:gd name="T27" fmla="*/ 5 h 99"/>
                <a:gd name="T28" fmla="*/ 35 w 85"/>
                <a:gd name="T29" fmla="*/ 2 h 99"/>
                <a:gd name="T30" fmla="*/ 42 w 85"/>
                <a:gd name="T31" fmla="*/ 1 h 99"/>
                <a:gd name="T32" fmla="*/ 49 w 85"/>
                <a:gd name="T33" fmla="*/ 0 h 99"/>
                <a:gd name="T34" fmla="*/ 65 w 85"/>
                <a:gd name="T35" fmla="*/ 3 h 99"/>
                <a:gd name="T36" fmla="*/ 76 w 85"/>
                <a:gd name="T37" fmla="*/ 12 h 99"/>
                <a:gd name="T38" fmla="*/ 82 w 85"/>
                <a:gd name="T39" fmla="*/ 26 h 99"/>
                <a:gd name="T40" fmla="*/ 85 w 85"/>
                <a:gd name="T41" fmla="*/ 44 h 99"/>
                <a:gd name="T42" fmla="*/ 85 w 85"/>
                <a:gd name="T43" fmla="*/ 99 h 99"/>
                <a:gd name="T44" fmla="*/ 59 w 85"/>
                <a:gd name="T45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5" h="99">
                  <a:moveTo>
                    <a:pt x="59" y="99"/>
                  </a:moveTo>
                  <a:cubicBezTo>
                    <a:pt x="59" y="47"/>
                    <a:pt x="59" y="47"/>
                    <a:pt x="59" y="47"/>
                  </a:cubicBezTo>
                  <a:cubicBezTo>
                    <a:pt x="59" y="39"/>
                    <a:pt x="58" y="33"/>
                    <a:pt x="55" y="30"/>
                  </a:cubicBezTo>
                  <a:cubicBezTo>
                    <a:pt x="53" y="26"/>
                    <a:pt x="49" y="24"/>
                    <a:pt x="43" y="24"/>
                  </a:cubicBezTo>
                  <a:cubicBezTo>
                    <a:pt x="40" y="24"/>
                    <a:pt x="38" y="24"/>
                    <a:pt x="35" y="25"/>
                  </a:cubicBezTo>
                  <a:cubicBezTo>
                    <a:pt x="33" y="26"/>
                    <a:pt x="32" y="27"/>
                    <a:pt x="30" y="29"/>
                  </a:cubicBezTo>
                  <a:cubicBezTo>
                    <a:pt x="29" y="30"/>
                    <a:pt x="28" y="33"/>
                    <a:pt x="27" y="35"/>
                  </a:cubicBezTo>
                  <a:cubicBezTo>
                    <a:pt x="26" y="38"/>
                    <a:pt x="26" y="42"/>
                    <a:pt x="26" y="46"/>
                  </a:cubicBezTo>
                  <a:cubicBezTo>
                    <a:pt x="26" y="99"/>
                    <a:pt x="26" y="99"/>
                    <a:pt x="26" y="99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7" y="7"/>
                    <a:pt x="28" y="6"/>
                    <a:pt x="30" y="5"/>
                  </a:cubicBezTo>
                  <a:cubicBezTo>
                    <a:pt x="31" y="4"/>
                    <a:pt x="33" y="3"/>
                    <a:pt x="35" y="2"/>
                  </a:cubicBezTo>
                  <a:cubicBezTo>
                    <a:pt x="37" y="2"/>
                    <a:pt x="39" y="1"/>
                    <a:pt x="42" y="1"/>
                  </a:cubicBezTo>
                  <a:cubicBezTo>
                    <a:pt x="44" y="0"/>
                    <a:pt x="46" y="0"/>
                    <a:pt x="49" y="0"/>
                  </a:cubicBezTo>
                  <a:cubicBezTo>
                    <a:pt x="55" y="0"/>
                    <a:pt x="60" y="1"/>
                    <a:pt x="65" y="3"/>
                  </a:cubicBezTo>
                  <a:cubicBezTo>
                    <a:pt x="69" y="5"/>
                    <a:pt x="73" y="8"/>
                    <a:pt x="76" y="12"/>
                  </a:cubicBezTo>
                  <a:cubicBezTo>
                    <a:pt x="79" y="16"/>
                    <a:pt x="81" y="20"/>
                    <a:pt x="82" y="26"/>
                  </a:cubicBezTo>
                  <a:cubicBezTo>
                    <a:pt x="84" y="31"/>
                    <a:pt x="85" y="38"/>
                    <a:pt x="85" y="44"/>
                  </a:cubicBezTo>
                  <a:cubicBezTo>
                    <a:pt x="85" y="99"/>
                    <a:pt x="85" y="99"/>
                    <a:pt x="85" y="99"/>
                  </a:cubicBezTo>
                  <a:lnTo>
                    <a:pt x="59" y="9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90" name="Freeform 7">
              <a:extLst>
                <a:ext uri="{FF2B5EF4-FFF2-40B4-BE49-F238E27FC236}">
                  <a16:creationId xmlns:a16="http://schemas.microsoft.com/office/drawing/2014/main" id="{39829C97-B9FD-4508-8651-C460629865A1}"/>
                </a:ext>
              </a:extLst>
            </p:cNvPr>
            <p:cNvSpPr>
              <a:spLocks noEditPoints="1"/>
            </p:cNvSpPr>
            <p:nvPr/>
          </p:nvSpPr>
          <p:spPr bwMode="white">
            <a:xfrm>
              <a:off x="9880823" y="1410902"/>
              <a:ext cx="71912" cy="87602"/>
            </a:xfrm>
            <a:custGeom>
              <a:avLst/>
              <a:gdLst>
                <a:gd name="T0" fmla="*/ 105 w 105"/>
                <a:gd name="T1" fmla="*/ 64 h 129"/>
                <a:gd name="T2" fmla="*/ 103 w 105"/>
                <a:gd name="T3" fmla="*/ 85 h 129"/>
                <a:gd name="T4" fmla="*/ 96 w 105"/>
                <a:gd name="T5" fmla="*/ 101 h 129"/>
                <a:gd name="T6" fmla="*/ 85 w 105"/>
                <a:gd name="T7" fmla="*/ 114 h 129"/>
                <a:gd name="T8" fmla="*/ 71 w 105"/>
                <a:gd name="T9" fmla="*/ 122 h 129"/>
                <a:gd name="T10" fmla="*/ 55 w 105"/>
                <a:gd name="T11" fmla="*/ 128 h 129"/>
                <a:gd name="T12" fmla="*/ 39 w 105"/>
                <a:gd name="T13" fmla="*/ 129 h 129"/>
                <a:gd name="T14" fmla="*/ 0 w 105"/>
                <a:gd name="T15" fmla="*/ 129 h 129"/>
                <a:gd name="T16" fmla="*/ 0 w 105"/>
                <a:gd name="T17" fmla="*/ 0 h 129"/>
                <a:gd name="T18" fmla="*/ 41 w 105"/>
                <a:gd name="T19" fmla="*/ 0 h 129"/>
                <a:gd name="T20" fmla="*/ 67 w 105"/>
                <a:gd name="T21" fmla="*/ 3 h 129"/>
                <a:gd name="T22" fmla="*/ 87 w 105"/>
                <a:gd name="T23" fmla="*/ 14 h 129"/>
                <a:gd name="T24" fmla="*/ 100 w 105"/>
                <a:gd name="T25" fmla="*/ 34 h 129"/>
                <a:gd name="T26" fmla="*/ 105 w 105"/>
                <a:gd name="T27" fmla="*/ 64 h 129"/>
                <a:gd name="T28" fmla="*/ 79 w 105"/>
                <a:gd name="T29" fmla="*/ 64 h 129"/>
                <a:gd name="T30" fmla="*/ 76 w 105"/>
                <a:gd name="T31" fmla="*/ 47 h 129"/>
                <a:gd name="T32" fmla="*/ 70 w 105"/>
                <a:gd name="T33" fmla="*/ 35 h 129"/>
                <a:gd name="T34" fmla="*/ 58 w 105"/>
                <a:gd name="T35" fmla="*/ 27 h 129"/>
                <a:gd name="T36" fmla="*/ 40 w 105"/>
                <a:gd name="T37" fmla="*/ 25 h 129"/>
                <a:gd name="T38" fmla="*/ 26 w 105"/>
                <a:gd name="T39" fmla="*/ 25 h 129"/>
                <a:gd name="T40" fmla="*/ 26 w 105"/>
                <a:gd name="T41" fmla="*/ 104 h 129"/>
                <a:gd name="T42" fmla="*/ 39 w 105"/>
                <a:gd name="T43" fmla="*/ 104 h 129"/>
                <a:gd name="T44" fmla="*/ 57 w 105"/>
                <a:gd name="T45" fmla="*/ 101 h 129"/>
                <a:gd name="T46" fmla="*/ 69 w 105"/>
                <a:gd name="T47" fmla="*/ 93 h 129"/>
                <a:gd name="T48" fmla="*/ 76 w 105"/>
                <a:gd name="T49" fmla="*/ 81 h 129"/>
                <a:gd name="T50" fmla="*/ 79 w 105"/>
                <a:gd name="T51" fmla="*/ 64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5" h="129">
                  <a:moveTo>
                    <a:pt x="105" y="64"/>
                  </a:moveTo>
                  <a:cubicBezTo>
                    <a:pt x="105" y="72"/>
                    <a:pt x="104" y="79"/>
                    <a:pt x="103" y="85"/>
                  </a:cubicBezTo>
                  <a:cubicBezTo>
                    <a:pt x="101" y="91"/>
                    <a:pt x="99" y="97"/>
                    <a:pt x="96" y="101"/>
                  </a:cubicBezTo>
                  <a:cubicBezTo>
                    <a:pt x="92" y="106"/>
                    <a:pt x="89" y="110"/>
                    <a:pt x="85" y="114"/>
                  </a:cubicBezTo>
                  <a:cubicBezTo>
                    <a:pt x="80" y="117"/>
                    <a:pt x="76" y="120"/>
                    <a:pt x="71" y="122"/>
                  </a:cubicBezTo>
                  <a:cubicBezTo>
                    <a:pt x="66" y="125"/>
                    <a:pt x="61" y="126"/>
                    <a:pt x="55" y="128"/>
                  </a:cubicBezTo>
                  <a:cubicBezTo>
                    <a:pt x="50" y="129"/>
                    <a:pt x="44" y="129"/>
                    <a:pt x="39" y="129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50" y="0"/>
                    <a:pt x="59" y="1"/>
                    <a:pt x="67" y="3"/>
                  </a:cubicBezTo>
                  <a:cubicBezTo>
                    <a:pt x="74" y="5"/>
                    <a:pt x="81" y="9"/>
                    <a:pt x="87" y="14"/>
                  </a:cubicBezTo>
                  <a:cubicBezTo>
                    <a:pt x="93" y="19"/>
                    <a:pt x="97" y="26"/>
                    <a:pt x="100" y="34"/>
                  </a:cubicBezTo>
                  <a:cubicBezTo>
                    <a:pt x="104" y="43"/>
                    <a:pt x="105" y="53"/>
                    <a:pt x="105" y="64"/>
                  </a:cubicBezTo>
                  <a:close/>
                  <a:moveTo>
                    <a:pt x="79" y="64"/>
                  </a:moveTo>
                  <a:cubicBezTo>
                    <a:pt x="79" y="58"/>
                    <a:pt x="78" y="52"/>
                    <a:pt x="76" y="47"/>
                  </a:cubicBezTo>
                  <a:cubicBezTo>
                    <a:pt x="75" y="42"/>
                    <a:pt x="73" y="38"/>
                    <a:pt x="70" y="35"/>
                  </a:cubicBezTo>
                  <a:cubicBezTo>
                    <a:pt x="66" y="31"/>
                    <a:pt x="62" y="29"/>
                    <a:pt x="58" y="27"/>
                  </a:cubicBezTo>
                  <a:cubicBezTo>
                    <a:pt x="53" y="26"/>
                    <a:pt x="47" y="25"/>
                    <a:pt x="40" y="25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6" y="104"/>
                    <a:pt x="26" y="104"/>
                    <a:pt x="26" y="104"/>
                  </a:cubicBezTo>
                  <a:cubicBezTo>
                    <a:pt x="39" y="104"/>
                    <a:pt x="39" y="104"/>
                    <a:pt x="39" y="104"/>
                  </a:cubicBezTo>
                  <a:cubicBezTo>
                    <a:pt x="46" y="104"/>
                    <a:pt x="52" y="103"/>
                    <a:pt x="57" y="101"/>
                  </a:cubicBezTo>
                  <a:cubicBezTo>
                    <a:pt x="62" y="99"/>
                    <a:pt x="66" y="97"/>
                    <a:pt x="69" y="93"/>
                  </a:cubicBezTo>
                  <a:cubicBezTo>
                    <a:pt x="72" y="90"/>
                    <a:pt x="75" y="85"/>
                    <a:pt x="76" y="81"/>
                  </a:cubicBezTo>
                  <a:cubicBezTo>
                    <a:pt x="78" y="76"/>
                    <a:pt x="79" y="70"/>
                    <a:pt x="79" y="6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91" name="Freeform 8">
              <a:extLst>
                <a:ext uri="{FF2B5EF4-FFF2-40B4-BE49-F238E27FC236}">
                  <a16:creationId xmlns:a16="http://schemas.microsoft.com/office/drawing/2014/main" id="{E6E8D961-2633-4DD4-9603-DC987B33CBF8}"/>
                </a:ext>
              </a:extLst>
            </p:cNvPr>
            <p:cNvSpPr>
              <a:spLocks noEditPoints="1"/>
            </p:cNvSpPr>
            <p:nvPr/>
          </p:nvSpPr>
          <p:spPr bwMode="white">
            <a:xfrm>
              <a:off x="9964502" y="1430515"/>
              <a:ext cx="56222" cy="69297"/>
            </a:xfrm>
            <a:custGeom>
              <a:avLst/>
              <a:gdLst>
                <a:gd name="T0" fmla="*/ 84 w 84"/>
                <a:gd name="T1" fmla="*/ 51 h 101"/>
                <a:gd name="T2" fmla="*/ 84 w 84"/>
                <a:gd name="T3" fmla="*/ 55 h 101"/>
                <a:gd name="T4" fmla="*/ 84 w 84"/>
                <a:gd name="T5" fmla="*/ 59 h 101"/>
                <a:gd name="T6" fmla="*/ 26 w 84"/>
                <a:gd name="T7" fmla="*/ 59 h 101"/>
                <a:gd name="T8" fmla="*/ 28 w 84"/>
                <a:gd name="T9" fmla="*/ 67 h 101"/>
                <a:gd name="T10" fmla="*/ 32 w 84"/>
                <a:gd name="T11" fmla="*/ 73 h 101"/>
                <a:gd name="T12" fmla="*/ 39 w 84"/>
                <a:gd name="T13" fmla="*/ 76 h 101"/>
                <a:gd name="T14" fmla="*/ 46 w 84"/>
                <a:gd name="T15" fmla="*/ 77 h 101"/>
                <a:gd name="T16" fmla="*/ 50 w 84"/>
                <a:gd name="T17" fmla="*/ 77 h 101"/>
                <a:gd name="T18" fmla="*/ 55 w 84"/>
                <a:gd name="T19" fmla="*/ 75 h 101"/>
                <a:gd name="T20" fmla="*/ 59 w 84"/>
                <a:gd name="T21" fmla="*/ 73 h 101"/>
                <a:gd name="T22" fmla="*/ 62 w 84"/>
                <a:gd name="T23" fmla="*/ 70 h 101"/>
                <a:gd name="T24" fmla="*/ 80 w 84"/>
                <a:gd name="T25" fmla="*/ 85 h 101"/>
                <a:gd name="T26" fmla="*/ 74 w 84"/>
                <a:gd name="T27" fmla="*/ 92 h 101"/>
                <a:gd name="T28" fmla="*/ 65 w 84"/>
                <a:gd name="T29" fmla="*/ 97 h 101"/>
                <a:gd name="T30" fmla="*/ 55 w 84"/>
                <a:gd name="T31" fmla="*/ 100 h 101"/>
                <a:gd name="T32" fmla="*/ 46 w 84"/>
                <a:gd name="T33" fmla="*/ 101 h 101"/>
                <a:gd name="T34" fmla="*/ 31 w 84"/>
                <a:gd name="T35" fmla="*/ 99 h 101"/>
                <a:gd name="T36" fmla="*/ 20 w 84"/>
                <a:gd name="T37" fmla="*/ 94 h 101"/>
                <a:gd name="T38" fmla="*/ 12 w 84"/>
                <a:gd name="T39" fmla="*/ 87 h 101"/>
                <a:gd name="T40" fmla="*/ 5 w 84"/>
                <a:gd name="T41" fmla="*/ 77 h 101"/>
                <a:gd name="T42" fmla="*/ 1 w 84"/>
                <a:gd name="T43" fmla="*/ 65 h 101"/>
                <a:gd name="T44" fmla="*/ 0 w 84"/>
                <a:gd name="T45" fmla="*/ 51 h 101"/>
                <a:gd name="T46" fmla="*/ 3 w 84"/>
                <a:gd name="T47" fmla="*/ 30 h 101"/>
                <a:gd name="T48" fmla="*/ 12 w 84"/>
                <a:gd name="T49" fmla="*/ 14 h 101"/>
                <a:gd name="T50" fmla="*/ 26 w 84"/>
                <a:gd name="T51" fmla="*/ 4 h 101"/>
                <a:gd name="T52" fmla="*/ 43 w 84"/>
                <a:gd name="T53" fmla="*/ 0 h 101"/>
                <a:gd name="T54" fmla="*/ 61 w 84"/>
                <a:gd name="T55" fmla="*/ 4 h 101"/>
                <a:gd name="T56" fmla="*/ 73 w 84"/>
                <a:gd name="T57" fmla="*/ 15 h 101"/>
                <a:gd name="T58" fmla="*/ 81 w 84"/>
                <a:gd name="T59" fmla="*/ 31 h 101"/>
                <a:gd name="T60" fmla="*/ 84 w 84"/>
                <a:gd name="T61" fmla="*/ 51 h 101"/>
                <a:gd name="T62" fmla="*/ 59 w 84"/>
                <a:gd name="T63" fmla="*/ 40 h 101"/>
                <a:gd name="T64" fmla="*/ 58 w 84"/>
                <a:gd name="T65" fmla="*/ 33 h 101"/>
                <a:gd name="T66" fmla="*/ 55 w 84"/>
                <a:gd name="T67" fmla="*/ 28 h 101"/>
                <a:gd name="T68" fmla="*/ 49 w 84"/>
                <a:gd name="T69" fmla="*/ 24 h 101"/>
                <a:gd name="T70" fmla="*/ 42 w 84"/>
                <a:gd name="T71" fmla="*/ 22 h 101"/>
                <a:gd name="T72" fmla="*/ 36 w 84"/>
                <a:gd name="T73" fmla="*/ 24 h 101"/>
                <a:gd name="T74" fmla="*/ 31 w 84"/>
                <a:gd name="T75" fmla="*/ 27 h 101"/>
                <a:gd name="T76" fmla="*/ 28 w 84"/>
                <a:gd name="T77" fmla="*/ 33 h 101"/>
                <a:gd name="T78" fmla="*/ 26 w 84"/>
                <a:gd name="T79" fmla="*/ 40 h 101"/>
                <a:gd name="T80" fmla="*/ 59 w 84"/>
                <a:gd name="T81" fmla="*/ 4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4" h="101">
                  <a:moveTo>
                    <a:pt x="84" y="51"/>
                  </a:moveTo>
                  <a:cubicBezTo>
                    <a:pt x="84" y="52"/>
                    <a:pt x="84" y="54"/>
                    <a:pt x="84" y="55"/>
                  </a:cubicBezTo>
                  <a:cubicBezTo>
                    <a:pt x="84" y="57"/>
                    <a:pt x="84" y="58"/>
                    <a:pt x="84" y="59"/>
                  </a:cubicBezTo>
                  <a:cubicBezTo>
                    <a:pt x="26" y="59"/>
                    <a:pt x="26" y="59"/>
                    <a:pt x="26" y="59"/>
                  </a:cubicBezTo>
                  <a:cubicBezTo>
                    <a:pt x="26" y="62"/>
                    <a:pt x="27" y="65"/>
                    <a:pt x="28" y="67"/>
                  </a:cubicBezTo>
                  <a:cubicBezTo>
                    <a:pt x="29" y="70"/>
                    <a:pt x="31" y="71"/>
                    <a:pt x="32" y="73"/>
                  </a:cubicBezTo>
                  <a:cubicBezTo>
                    <a:pt x="34" y="74"/>
                    <a:pt x="36" y="75"/>
                    <a:pt x="39" y="76"/>
                  </a:cubicBezTo>
                  <a:cubicBezTo>
                    <a:pt x="41" y="77"/>
                    <a:pt x="43" y="77"/>
                    <a:pt x="46" y="77"/>
                  </a:cubicBezTo>
                  <a:cubicBezTo>
                    <a:pt x="47" y="77"/>
                    <a:pt x="49" y="77"/>
                    <a:pt x="50" y="77"/>
                  </a:cubicBezTo>
                  <a:cubicBezTo>
                    <a:pt x="52" y="76"/>
                    <a:pt x="54" y="76"/>
                    <a:pt x="55" y="75"/>
                  </a:cubicBezTo>
                  <a:cubicBezTo>
                    <a:pt x="57" y="75"/>
                    <a:pt x="58" y="74"/>
                    <a:pt x="59" y="73"/>
                  </a:cubicBezTo>
                  <a:cubicBezTo>
                    <a:pt x="60" y="72"/>
                    <a:pt x="61" y="71"/>
                    <a:pt x="62" y="70"/>
                  </a:cubicBezTo>
                  <a:cubicBezTo>
                    <a:pt x="80" y="85"/>
                    <a:pt x="80" y="85"/>
                    <a:pt x="80" y="85"/>
                  </a:cubicBezTo>
                  <a:cubicBezTo>
                    <a:pt x="78" y="88"/>
                    <a:pt x="76" y="90"/>
                    <a:pt x="74" y="92"/>
                  </a:cubicBezTo>
                  <a:cubicBezTo>
                    <a:pt x="71" y="94"/>
                    <a:pt x="68" y="96"/>
                    <a:pt x="65" y="97"/>
                  </a:cubicBezTo>
                  <a:cubicBezTo>
                    <a:pt x="62" y="98"/>
                    <a:pt x="59" y="99"/>
                    <a:pt x="55" y="100"/>
                  </a:cubicBezTo>
                  <a:cubicBezTo>
                    <a:pt x="52" y="101"/>
                    <a:pt x="49" y="101"/>
                    <a:pt x="46" y="101"/>
                  </a:cubicBezTo>
                  <a:cubicBezTo>
                    <a:pt x="40" y="101"/>
                    <a:pt x="35" y="101"/>
                    <a:pt x="31" y="99"/>
                  </a:cubicBezTo>
                  <a:cubicBezTo>
                    <a:pt x="27" y="98"/>
                    <a:pt x="23" y="96"/>
                    <a:pt x="20" y="94"/>
                  </a:cubicBezTo>
                  <a:cubicBezTo>
                    <a:pt x="17" y="92"/>
                    <a:pt x="14" y="89"/>
                    <a:pt x="12" y="87"/>
                  </a:cubicBezTo>
                  <a:cubicBezTo>
                    <a:pt x="9" y="84"/>
                    <a:pt x="7" y="80"/>
                    <a:pt x="5" y="77"/>
                  </a:cubicBezTo>
                  <a:cubicBezTo>
                    <a:pt x="4" y="73"/>
                    <a:pt x="2" y="69"/>
                    <a:pt x="1" y="65"/>
                  </a:cubicBezTo>
                  <a:cubicBezTo>
                    <a:pt x="0" y="61"/>
                    <a:pt x="0" y="56"/>
                    <a:pt x="0" y="51"/>
                  </a:cubicBezTo>
                  <a:cubicBezTo>
                    <a:pt x="0" y="43"/>
                    <a:pt x="1" y="36"/>
                    <a:pt x="3" y="30"/>
                  </a:cubicBezTo>
                  <a:cubicBezTo>
                    <a:pt x="5" y="24"/>
                    <a:pt x="8" y="19"/>
                    <a:pt x="12" y="14"/>
                  </a:cubicBezTo>
                  <a:cubicBezTo>
                    <a:pt x="16" y="10"/>
                    <a:pt x="21" y="6"/>
                    <a:pt x="26" y="4"/>
                  </a:cubicBezTo>
                  <a:cubicBezTo>
                    <a:pt x="31" y="1"/>
                    <a:pt x="37" y="0"/>
                    <a:pt x="43" y="0"/>
                  </a:cubicBezTo>
                  <a:cubicBezTo>
                    <a:pt x="50" y="0"/>
                    <a:pt x="55" y="1"/>
                    <a:pt x="61" y="4"/>
                  </a:cubicBezTo>
                  <a:cubicBezTo>
                    <a:pt x="66" y="7"/>
                    <a:pt x="70" y="10"/>
                    <a:pt x="73" y="15"/>
                  </a:cubicBezTo>
                  <a:cubicBezTo>
                    <a:pt x="77" y="19"/>
                    <a:pt x="79" y="25"/>
                    <a:pt x="81" y="31"/>
                  </a:cubicBezTo>
                  <a:cubicBezTo>
                    <a:pt x="83" y="37"/>
                    <a:pt x="84" y="44"/>
                    <a:pt x="84" y="51"/>
                  </a:cubicBezTo>
                  <a:close/>
                  <a:moveTo>
                    <a:pt x="59" y="40"/>
                  </a:moveTo>
                  <a:cubicBezTo>
                    <a:pt x="59" y="37"/>
                    <a:pt x="59" y="35"/>
                    <a:pt x="58" y="33"/>
                  </a:cubicBezTo>
                  <a:cubicBezTo>
                    <a:pt x="57" y="31"/>
                    <a:pt x="56" y="29"/>
                    <a:pt x="55" y="28"/>
                  </a:cubicBezTo>
                  <a:cubicBezTo>
                    <a:pt x="53" y="26"/>
                    <a:pt x="51" y="25"/>
                    <a:pt x="49" y="24"/>
                  </a:cubicBezTo>
                  <a:cubicBezTo>
                    <a:pt x="47" y="23"/>
                    <a:pt x="45" y="22"/>
                    <a:pt x="42" y="22"/>
                  </a:cubicBezTo>
                  <a:cubicBezTo>
                    <a:pt x="40" y="22"/>
                    <a:pt x="37" y="23"/>
                    <a:pt x="36" y="24"/>
                  </a:cubicBezTo>
                  <a:cubicBezTo>
                    <a:pt x="34" y="24"/>
                    <a:pt x="32" y="26"/>
                    <a:pt x="31" y="27"/>
                  </a:cubicBezTo>
                  <a:cubicBezTo>
                    <a:pt x="29" y="29"/>
                    <a:pt x="28" y="31"/>
                    <a:pt x="28" y="33"/>
                  </a:cubicBezTo>
                  <a:cubicBezTo>
                    <a:pt x="27" y="35"/>
                    <a:pt x="26" y="37"/>
                    <a:pt x="26" y="40"/>
                  </a:cubicBezTo>
                  <a:lnTo>
                    <a:pt x="59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92" name="Freeform 9">
              <a:extLst>
                <a:ext uri="{FF2B5EF4-FFF2-40B4-BE49-F238E27FC236}">
                  <a16:creationId xmlns:a16="http://schemas.microsoft.com/office/drawing/2014/main" id="{F4A1F26E-26EA-44D8-8D11-97229CEC2530}"/>
                </a:ext>
              </a:extLst>
            </p:cNvPr>
            <p:cNvSpPr>
              <a:spLocks/>
            </p:cNvSpPr>
            <p:nvPr/>
          </p:nvSpPr>
          <p:spPr bwMode="white">
            <a:xfrm>
              <a:off x="10035106" y="1431822"/>
              <a:ext cx="57529" cy="67989"/>
            </a:xfrm>
            <a:custGeom>
              <a:avLst/>
              <a:gdLst>
                <a:gd name="T0" fmla="*/ 58 w 84"/>
                <a:gd name="T1" fmla="*/ 97 h 99"/>
                <a:gd name="T2" fmla="*/ 58 w 84"/>
                <a:gd name="T3" fmla="*/ 91 h 99"/>
                <a:gd name="T4" fmla="*/ 49 w 84"/>
                <a:gd name="T5" fmla="*/ 97 h 99"/>
                <a:gd name="T6" fmla="*/ 35 w 84"/>
                <a:gd name="T7" fmla="*/ 99 h 99"/>
                <a:gd name="T8" fmla="*/ 9 w 84"/>
                <a:gd name="T9" fmla="*/ 88 h 99"/>
                <a:gd name="T10" fmla="*/ 0 w 84"/>
                <a:gd name="T11" fmla="*/ 55 h 99"/>
                <a:gd name="T12" fmla="*/ 0 w 84"/>
                <a:gd name="T13" fmla="*/ 0 h 99"/>
                <a:gd name="T14" fmla="*/ 25 w 84"/>
                <a:gd name="T15" fmla="*/ 0 h 99"/>
                <a:gd name="T16" fmla="*/ 25 w 84"/>
                <a:gd name="T17" fmla="*/ 52 h 99"/>
                <a:gd name="T18" fmla="*/ 29 w 84"/>
                <a:gd name="T19" fmla="*/ 70 h 99"/>
                <a:gd name="T20" fmla="*/ 42 w 84"/>
                <a:gd name="T21" fmla="*/ 75 h 99"/>
                <a:gd name="T22" fmla="*/ 54 w 84"/>
                <a:gd name="T23" fmla="*/ 70 h 99"/>
                <a:gd name="T24" fmla="*/ 58 w 84"/>
                <a:gd name="T25" fmla="*/ 53 h 99"/>
                <a:gd name="T26" fmla="*/ 58 w 84"/>
                <a:gd name="T27" fmla="*/ 0 h 99"/>
                <a:gd name="T28" fmla="*/ 84 w 84"/>
                <a:gd name="T29" fmla="*/ 0 h 99"/>
                <a:gd name="T30" fmla="*/ 84 w 84"/>
                <a:gd name="T31" fmla="*/ 97 h 99"/>
                <a:gd name="T32" fmla="*/ 58 w 84"/>
                <a:gd name="T33" fmla="*/ 97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4" h="99">
                  <a:moveTo>
                    <a:pt x="58" y="97"/>
                  </a:moveTo>
                  <a:cubicBezTo>
                    <a:pt x="58" y="91"/>
                    <a:pt x="58" y="91"/>
                    <a:pt x="58" y="91"/>
                  </a:cubicBezTo>
                  <a:cubicBezTo>
                    <a:pt x="56" y="93"/>
                    <a:pt x="53" y="95"/>
                    <a:pt x="49" y="97"/>
                  </a:cubicBezTo>
                  <a:cubicBezTo>
                    <a:pt x="45" y="98"/>
                    <a:pt x="41" y="99"/>
                    <a:pt x="35" y="99"/>
                  </a:cubicBezTo>
                  <a:cubicBezTo>
                    <a:pt x="24" y="99"/>
                    <a:pt x="15" y="95"/>
                    <a:pt x="9" y="88"/>
                  </a:cubicBezTo>
                  <a:cubicBezTo>
                    <a:pt x="3" y="80"/>
                    <a:pt x="0" y="69"/>
                    <a:pt x="0" y="5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52"/>
                    <a:pt x="25" y="52"/>
                    <a:pt x="25" y="52"/>
                  </a:cubicBezTo>
                  <a:cubicBezTo>
                    <a:pt x="25" y="60"/>
                    <a:pt x="26" y="66"/>
                    <a:pt x="29" y="70"/>
                  </a:cubicBezTo>
                  <a:cubicBezTo>
                    <a:pt x="31" y="73"/>
                    <a:pt x="36" y="75"/>
                    <a:pt x="42" y="75"/>
                  </a:cubicBezTo>
                  <a:cubicBezTo>
                    <a:pt x="48" y="75"/>
                    <a:pt x="52" y="73"/>
                    <a:pt x="54" y="70"/>
                  </a:cubicBezTo>
                  <a:cubicBezTo>
                    <a:pt x="57" y="66"/>
                    <a:pt x="58" y="60"/>
                    <a:pt x="58" y="53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97"/>
                    <a:pt x="84" y="97"/>
                    <a:pt x="84" y="97"/>
                  </a:cubicBezTo>
                  <a:lnTo>
                    <a:pt x="58" y="9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93" name="Freeform 10">
              <a:extLst>
                <a:ext uri="{FF2B5EF4-FFF2-40B4-BE49-F238E27FC236}">
                  <a16:creationId xmlns:a16="http://schemas.microsoft.com/office/drawing/2014/main" id="{45C1803D-4651-4E80-B712-F3F311657C4D}"/>
                </a:ext>
              </a:extLst>
            </p:cNvPr>
            <p:cNvSpPr>
              <a:spLocks/>
            </p:cNvSpPr>
            <p:nvPr/>
          </p:nvSpPr>
          <p:spPr bwMode="white">
            <a:xfrm>
              <a:off x="10104403" y="1406980"/>
              <a:ext cx="43148" cy="92832"/>
            </a:xfrm>
            <a:custGeom>
              <a:avLst/>
              <a:gdLst>
                <a:gd name="T0" fmla="*/ 62 w 65"/>
                <a:gd name="T1" fmla="*/ 131 h 137"/>
                <a:gd name="T2" fmla="*/ 53 w 65"/>
                <a:gd name="T3" fmla="*/ 135 h 137"/>
                <a:gd name="T4" fmla="*/ 42 w 65"/>
                <a:gd name="T5" fmla="*/ 137 h 137"/>
                <a:gd name="T6" fmla="*/ 31 w 65"/>
                <a:gd name="T7" fmla="*/ 135 h 137"/>
                <a:gd name="T8" fmla="*/ 23 w 65"/>
                <a:gd name="T9" fmla="*/ 129 h 137"/>
                <a:gd name="T10" fmla="*/ 18 w 65"/>
                <a:gd name="T11" fmla="*/ 120 h 137"/>
                <a:gd name="T12" fmla="*/ 16 w 65"/>
                <a:gd name="T13" fmla="*/ 108 h 137"/>
                <a:gd name="T14" fmla="*/ 16 w 65"/>
                <a:gd name="T15" fmla="*/ 62 h 137"/>
                <a:gd name="T16" fmla="*/ 0 w 65"/>
                <a:gd name="T17" fmla="*/ 62 h 137"/>
                <a:gd name="T18" fmla="*/ 0 w 65"/>
                <a:gd name="T19" fmla="*/ 38 h 137"/>
                <a:gd name="T20" fmla="*/ 16 w 65"/>
                <a:gd name="T21" fmla="*/ 38 h 137"/>
                <a:gd name="T22" fmla="*/ 16 w 65"/>
                <a:gd name="T23" fmla="*/ 13 h 137"/>
                <a:gd name="T24" fmla="*/ 42 w 65"/>
                <a:gd name="T25" fmla="*/ 0 h 137"/>
                <a:gd name="T26" fmla="*/ 42 w 65"/>
                <a:gd name="T27" fmla="*/ 38 h 137"/>
                <a:gd name="T28" fmla="*/ 65 w 65"/>
                <a:gd name="T29" fmla="*/ 38 h 137"/>
                <a:gd name="T30" fmla="*/ 65 w 65"/>
                <a:gd name="T31" fmla="*/ 62 h 137"/>
                <a:gd name="T32" fmla="*/ 42 w 65"/>
                <a:gd name="T33" fmla="*/ 62 h 137"/>
                <a:gd name="T34" fmla="*/ 42 w 65"/>
                <a:gd name="T35" fmla="*/ 101 h 137"/>
                <a:gd name="T36" fmla="*/ 42 w 65"/>
                <a:gd name="T37" fmla="*/ 107 h 137"/>
                <a:gd name="T38" fmla="*/ 44 w 65"/>
                <a:gd name="T39" fmla="*/ 110 h 137"/>
                <a:gd name="T40" fmla="*/ 47 w 65"/>
                <a:gd name="T41" fmla="*/ 112 h 137"/>
                <a:gd name="T42" fmla="*/ 51 w 65"/>
                <a:gd name="T43" fmla="*/ 113 h 137"/>
                <a:gd name="T44" fmla="*/ 58 w 65"/>
                <a:gd name="T45" fmla="*/ 111 h 137"/>
                <a:gd name="T46" fmla="*/ 65 w 65"/>
                <a:gd name="T47" fmla="*/ 105 h 137"/>
                <a:gd name="T48" fmla="*/ 62 w 65"/>
                <a:gd name="T49" fmla="*/ 131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5" h="137">
                  <a:moveTo>
                    <a:pt x="62" y="131"/>
                  </a:moveTo>
                  <a:cubicBezTo>
                    <a:pt x="60" y="133"/>
                    <a:pt x="57" y="134"/>
                    <a:pt x="53" y="135"/>
                  </a:cubicBezTo>
                  <a:cubicBezTo>
                    <a:pt x="50" y="137"/>
                    <a:pt x="46" y="137"/>
                    <a:pt x="42" y="137"/>
                  </a:cubicBezTo>
                  <a:cubicBezTo>
                    <a:pt x="38" y="137"/>
                    <a:pt x="34" y="136"/>
                    <a:pt x="31" y="135"/>
                  </a:cubicBezTo>
                  <a:cubicBezTo>
                    <a:pt x="28" y="134"/>
                    <a:pt x="25" y="132"/>
                    <a:pt x="23" y="129"/>
                  </a:cubicBezTo>
                  <a:cubicBezTo>
                    <a:pt x="21" y="126"/>
                    <a:pt x="19" y="123"/>
                    <a:pt x="18" y="120"/>
                  </a:cubicBezTo>
                  <a:cubicBezTo>
                    <a:pt x="17" y="116"/>
                    <a:pt x="16" y="112"/>
                    <a:pt x="16" y="108"/>
                  </a:cubicBezTo>
                  <a:cubicBezTo>
                    <a:pt x="16" y="62"/>
                    <a:pt x="16" y="62"/>
                    <a:pt x="16" y="62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38"/>
                    <a:pt x="42" y="38"/>
                    <a:pt x="42" y="38"/>
                  </a:cubicBezTo>
                  <a:cubicBezTo>
                    <a:pt x="65" y="38"/>
                    <a:pt x="65" y="38"/>
                    <a:pt x="65" y="38"/>
                  </a:cubicBezTo>
                  <a:cubicBezTo>
                    <a:pt x="65" y="62"/>
                    <a:pt x="65" y="62"/>
                    <a:pt x="65" y="62"/>
                  </a:cubicBezTo>
                  <a:cubicBezTo>
                    <a:pt x="42" y="62"/>
                    <a:pt x="42" y="62"/>
                    <a:pt x="42" y="62"/>
                  </a:cubicBezTo>
                  <a:cubicBezTo>
                    <a:pt x="42" y="101"/>
                    <a:pt x="42" y="101"/>
                    <a:pt x="42" y="101"/>
                  </a:cubicBezTo>
                  <a:cubicBezTo>
                    <a:pt x="42" y="103"/>
                    <a:pt x="42" y="105"/>
                    <a:pt x="42" y="107"/>
                  </a:cubicBezTo>
                  <a:cubicBezTo>
                    <a:pt x="43" y="108"/>
                    <a:pt x="43" y="110"/>
                    <a:pt x="44" y="110"/>
                  </a:cubicBezTo>
                  <a:cubicBezTo>
                    <a:pt x="45" y="111"/>
                    <a:pt x="46" y="112"/>
                    <a:pt x="47" y="112"/>
                  </a:cubicBezTo>
                  <a:cubicBezTo>
                    <a:pt x="48" y="113"/>
                    <a:pt x="49" y="113"/>
                    <a:pt x="51" y="113"/>
                  </a:cubicBezTo>
                  <a:cubicBezTo>
                    <a:pt x="53" y="113"/>
                    <a:pt x="55" y="112"/>
                    <a:pt x="58" y="111"/>
                  </a:cubicBezTo>
                  <a:cubicBezTo>
                    <a:pt x="60" y="110"/>
                    <a:pt x="62" y="108"/>
                    <a:pt x="65" y="105"/>
                  </a:cubicBezTo>
                  <a:lnTo>
                    <a:pt x="62" y="13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94" name="Freeform 11">
              <a:extLst>
                <a:ext uri="{FF2B5EF4-FFF2-40B4-BE49-F238E27FC236}">
                  <a16:creationId xmlns:a16="http://schemas.microsoft.com/office/drawing/2014/main" id="{711CC3A8-EDFC-4EAE-A2DC-ACDC3B1D9DEB}"/>
                </a:ext>
              </a:extLst>
            </p:cNvPr>
            <p:cNvSpPr>
              <a:spLocks/>
            </p:cNvSpPr>
            <p:nvPr/>
          </p:nvSpPr>
          <p:spPr bwMode="white">
            <a:xfrm>
              <a:off x="10160625" y="1430515"/>
              <a:ext cx="56222" cy="69297"/>
            </a:xfrm>
            <a:custGeom>
              <a:avLst/>
              <a:gdLst>
                <a:gd name="T0" fmla="*/ 78 w 81"/>
                <a:gd name="T1" fmla="*/ 9 h 101"/>
                <a:gd name="T2" fmla="*/ 70 w 81"/>
                <a:gd name="T3" fmla="*/ 30 h 101"/>
                <a:gd name="T4" fmla="*/ 55 w 81"/>
                <a:gd name="T5" fmla="*/ 24 h 101"/>
                <a:gd name="T6" fmla="*/ 41 w 81"/>
                <a:gd name="T7" fmla="*/ 22 h 101"/>
                <a:gd name="T8" fmla="*/ 31 w 81"/>
                <a:gd name="T9" fmla="*/ 23 h 101"/>
                <a:gd name="T10" fmla="*/ 28 w 81"/>
                <a:gd name="T11" fmla="*/ 28 h 101"/>
                <a:gd name="T12" fmla="*/ 29 w 81"/>
                <a:gd name="T13" fmla="*/ 31 h 101"/>
                <a:gd name="T14" fmla="*/ 32 w 81"/>
                <a:gd name="T15" fmla="*/ 33 h 101"/>
                <a:gd name="T16" fmla="*/ 38 w 81"/>
                <a:gd name="T17" fmla="*/ 36 h 101"/>
                <a:gd name="T18" fmla="*/ 48 w 81"/>
                <a:gd name="T19" fmla="*/ 39 h 101"/>
                <a:gd name="T20" fmla="*/ 61 w 81"/>
                <a:gd name="T21" fmla="*/ 44 h 101"/>
                <a:gd name="T22" fmla="*/ 71 w 81"/>
                <a:gd name="T23" fmla="*/ 50 h 101"/>
                <a:gd name="T24" fmla="*/ 78 w 81"/>
                <a:gd name="T25" fmla="*/ 59 h 101"/>
                <a:gd name="T26" fmla="*/ 81 w 81"/>
                <a:gd name="T27" fmla="*/ 71 h 101"/>
                <a:gd name="T28" fmla="*/ 78 w 81"/>
                <a:gd name="T29" fmla="*/ 85 h 101"/>
                <a:gd name="T30" fmla="*/ 69 w 81"/>
                <a:gd name="T31" fmla="*/ 94 h 101"/>
                <a:gd name="T32" fmla="*/ 57 w 81"/>
                <a:gd name="T33" fmla="*/ 100 h 101"/>
                <a:gd name="T34" fmla="*/ 41 w 81"/>
                <a:gd name="T35" fmla="*/ 101 h 101"/>
                <a:gd name="T36" fmla="*/ 19 w 81"/>
                <a:gd name="T37" fmla="*/ 98 h 101"/>
                <a:gd name="T38" fmla="*/ 0 w 81"/>
                <a:gd name="T39" fmla="*/ 90 h 101"/>
                <a:gd name="T40" fmla="*/ 9 w 81"/>
                <a:gd name="T41" fmla="*/ 70 h 101"/>
                <a:gd name="T42" fmla="*/ 25 w 81"/>
                <a:gd name="T43" fmla="*/ 77 h 101"/>
                <a:gd name="T44" fmla="*/ 43 w 81"/>
                <a:gd name="T45" fmla="*/ 79 h 101"/>
                <a:gd name="T46" fmla="*/ 53 w 81"/>
                <a:gd name="T47" fmla="*/ 78 h 101"/>
                <a:gd name="T48" fmla="*/ 56 w 81"/>
                <a:gd name="T49" fmla="*/ 72 h 101"/>
                <a:gd name="T50" fmla="*/ 55 w 81"/>
                <a:gd name="T51" fmla="*/ 69 h 101"/>
                <a:gd name="T52" fmla="*/ 53 w 81"/>
                <a:gd name="T53" fmla="*/ 67 h 101"/>
                <a:gd name="T54" fmla="*/ 48 w 81"/>
                <a:gd name="T55" fmla="*/ 64 h 101"/>
                <a:gd name="T56" fmla="*/ 41 w 81"/>
                <a:gd name="T57" fmla="*/ 62 h 101"/>
                <a:gd name="T58" fmla="*/ 26 w 81"/>
                <a:gd name="T59" fmla="*/ 57 h 101"/>
                <a:gd name="T60" fmla="*/ 13 w 81"/>
                <a:gd name="T61" fmla="*/ 51 h 101"/>
                <a:gd name="T62" fmla="*/ 6 w 81"/>
                <a:gd name="T63" fmla="*/ 42 h 101"/>
                <a:gd name="T64" fmla="*/ 3 w 81"/>
                <a:gd name="T65" fmla="*/ 29 h 101"/>
                <a:gd name="T66" fmla="*/ 6 w 81"/>
                <a:gd name="T67" fmla="*/ 16 h 101"/>
                <a:gd name="T68" fmla="*/ 14 w 81"/>
                <a:gd name="T69" fmla="*/ 7 h 101"/>
                <a:gd name="T70" fmla="*/ 26 w 81"/>
                <a:gd name="T71" fmla="*/ 2 h 101"/>
                <a:gd name="T72" fmla="*/ 42 w 81"/>
                <a:gd name="T73" fmla="*/ 0 h 101"/>
                <a:gd name="T74" fmla="*/ 61 w 81"/>
                <a:gd name="T75" fmla="*/ 3 h 101"/>
                <a:gd name="T76" fmla="*/ 78 w 81"/>
                <a:gd name="T77" fmla="*/ 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81" h="101">
                  <a:moveTo>
                    <a:pt x="78" y="9"/>
                  </a:moveTo>
                  <a:cubicBezTo>
                    <a:pt x="70" y="30"/>
                    <a:pt x="70" y="30"/>
                    <a:pt x="70" y="30"/>
                  </a:cubicBezTo>
                  <a:cubicBezTo>
                    <a:pt x="65" y="27"/>
                    <a:pt x="60" y="25"/>
                    <a:pt x="55" y="24"/>
                  </a:cubicBezTo>
                  <a:cubicBezTo>
                    <a:pt x="50" y="22"/>
                    <a:pt x="45" y="22"/>
                    <a:pt x="41" y="22"/>
                  </a:cubicBezTo>
                  <a:cubicBezTo>
                    <a:pt x="37" y="22"/>
                    <a:pt x="34" y="22"/>
                    <a:pt x="31" y="23"/>
                  </a:cubicBezTo>
                  <a:cubicBezTo>
                    <a:pt x="29" y="24"/>
                    <a:pt x="28" y="26"/>
                    <a:pt x="28" y="28"/>
                  </a:cubicBezTo>
                  <a:cubicBezTo>
                    <a:pt x="28" y="29"/>
                    <a:pt x="29" y="30"/>
                    <a:pt x="29" y="31"/>
                  </a:cubicBezTo>
                  <a:cubicBezTo>
                    <a:pt x="29" y="32"/>
                    <a:pt x="30" y="32"/>
                    <a:pt x="32" y="33"/>
                  </a:cubicBezTo>
                  <a:cubicBezTo>
                    <a:pt x="33" y="34"/>
                    <a:pt x="35" y="35"/>
                    <a:pt x="38" y="36"/>
                  </a:cubicBezTo>
                  <a:cubicBezTo>
                    <a:pt x="41" y="37"/>
                    <a:pt x="44" y="38"/>
                    <a:pt x="48" y="39"/>
                  </a:cubicBezTo>
                  <a:cubicBezTo>
                    <a:pt x="53" y="41"/>
                    <a:pt x="57" y="42"/>
                    <a:pt x="61" y="44"/>
                  </a:cubicBezTo>
                  <a:cubicBezTo>
                    <a:pt x="65" y="46"/>
                    <a:pt x="68" y="48"/>
                    <a:pt x="71" y="50"/>
                  </a:cubicBezTo>
                  <a:cubicBezTo>
                    <a:pt x="74" y="52"/>
                    <a:pt x="76" y="55"/>
                    <a:pt x="78" y="59"/>
                  </a:cubicBezTo>
                  <a:cubicBezTo>
                    <a:pt x="80" y="62"/>
                    <a:pt x="81" y="66"/>
                    <a:pt x="81" y="71"/>
                  </a:cubicBezTo>
                  <a:cubicBezTo>
                    <a:pt x="81" y="76"/>
                    <a:pt x="80" y="81"/>
                    <a:pt x="78" y="85"/>
                  </a:cubicBezTo>
                  <a:cubicBezTo>
                    <a:pt x="76" y="89"/>
                    <a:pt x="73" y="92"/>
                    <a:pt x="69" y="94"/>
                  </a:cubicBezTo>
                  <a:cubicBezTo>
                    <a:pt x="66" y="97"/>
                    <a:pt x="61" y="98"/>
                    <a:pt x="57" y="100"/>
                  </a:cubicBezTo>
                  <a:cubicBezTo>
                    <a:pt x="52" y="101"/>
                    <a:pt x="47" y="101"/>
                    <a:pt x="41" y="101"/>
                  </a:cubicBezTo>
                  <a:cubicBezTo>
                    <a:pt x="34" y="101"/>
                    <a:pt x="26" y="100"/>
                    <a:pt x="19" y="98"/>
                  </a:cubicBezTo>
                  <a:cubicBezTo>
                    <a:pt x="12" y="96"/>
                    <a:pt x="6" y="93"/>
                    <a:pt x="0" y="90"/>
                  </a:cubicBezTo>
                  <a:cubicBezTo>
                    <a:pt x="9" y="70"/>
                    <a:pt x="9" y="70"/>
                    <a:pt x="9" y="70"/>
                  </a:cubicBezTo>
                  <a:cubicBezTo>
                    <a:pt x="14" y="73"/>
                    <a:pt x="20" y="76"/>
                    <a:pt x="25" y="77"/>
                  </a:cubicBezTo>
                  <a:cubicBezTo>
                    <a:pt x="31" y="79"/>
                    <a:pt x="36" y="79"/>
                    <a:pt x="43" y="79"/>
                  </a:cubicBezTo>
                  <a:cubicBezTo>
                    <a:pt x="47" y="79"/>
                    <a:pt x="51" y="79"/>
                    <a:pt x="53" y="78"/>
                  </a:cubicBezTo>
                  <a:cubicBezTo>
                    <a:pt x="55" y="76"/>
                    <a:pt x="56" y="75"/>
                    <a:pt x="56" y="72"/>
                  </a:cubicBezTo>
                  <a:cubicBezTo>
                    <a:pt x="56" y="71"/>
                    <a:pt x="55" y="70"/>
                    <a:pt x="55" y="69"/>
                  </a:cubicBezTo>
                  <a:cubicBezTo>
                    <a:pt x="54" y="68"/>
                    <a:pt x="54" y="67"/>
                    <a:pt x="53" y="67"/>
                  </a:cubicBezTo>
                  <a:cubicBezTo>
                    <a:pt x="51" y="66"/>
                    <a:pt x="50" y="65"/>
                    <a:pt x="48" y="64"/>
                  </a:cubicBezTo>
                  <a:cubicBezTo>
                    <a:pt x="46" y="64"/>
                    <a:pt x="44" y="63"/>
                    <a:pt x="41" y="62"/>
                  </a:cubicBezTo>
                  <a:cubicBezTo>
                    <a:pt x="36" y="60"/>
                    <a:pt x="30" y="59"/>
                    <a:pt x="26" y="57"/>
                  </a:cubicBezTo>
                  <a:cubicBezTo>
                    <a:pt x="21" y="55"/>
                    <a:pt x="17" y="53"/>
                    <a:pt x="13" y="51"/>
                  </a:cubicBezTo>
                  <a:cubicBezTo>
                    <a:pt x="10" y="48"/>
                    <a:pt x="8" y="45"/>
                    <a:pt x="6" y="42"/>
                  </a:cubicBezTo>
                  <a:cubicBezTo>
                    <a:pt x="4" y="38"/>
                    <a:pt x="3" y="34"/>
                    <a:pt x="3" y="29"/>
                  </a:cubicBezTo>
                  <a:cubicBezTo>
                    <a:pt x="3" y="24"/>
                    <a:pt x="4" y="19"/>
                    <a:pt x="6" y="16"/>
                  </a:cubicBezTo>
                  <a:cubicBezTo>
                    <a:pt x="8" y="12"/>
                    <a:pt x="10" y="9"/>
                    <a:pt x="14" y="7"/>
                  </a:cubicBezTo>
                  <a:cubicBezTo>
                    <a:pt x="17" y="4"/>
                    <a:pt x="21" y="3"/>
                    <a:pt x="26" y="2"/>
                  </a:cubicBezTo>
                  <a:cubicBezTo>
                    <a:pt x="31" y="0"/>
                    <a:pt x="36" y="0"/>
                    <a:pt x="42" y="0"/>
                  </a:cubicBezTo>
                  <a:cubicBezTo>
                    <a:pt x="48" y="0"/>
                    <a:pt x="54" y="1"/>
                    <a:pt x="61" y="3"/>
                  </a:cubicBezTo>
                  <a:cubicBezTo>
                    <a:pt x="67" y="4"/>
                    <a:pt x="73" y="7"/>
                    <a:pt x="78" y="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95" name="Freeform 12">
              <a:extLst>
                <a:ext uri="{FF2B5EF4-FFF2-40B4-BE49-F238E27FC236}">
                  <a16:creationId xmlns:a16="http://schemas.microsoft.com/office/drawing/2014/main" id="{C17A032D-DB72-46B0-B4C8-EE8C8CC504F2}"/>
                </a:ext>
              </a:extLst>
            </p:cNvPr>
            <p:cNvSpPr>
              <a:spLocks/>
            </p:cNvSpPr>
            <p:nvPr/>
          </p:nvSpPr>
          <p:spPr bwMode="white">
            <a:xfrm>
              <a:off x="10226000" y="1430515"/>
              <a:ext cx="58837" cy="69297"/>
            </a:xfrm>
            <a:custGeom>
              <a:avLst/>
              <a:gdLst>
                <a:gd name="T0" fmla="*/ 85 w 85"/>
                <a:gd name="T1" fmla="*/ 80 h 101"/>
                <a:gd name="T2" fmla="*/ 77 w 85"/>
                <a:gd name="T3" fmla="*/ 88 h 101"/>
                <a:gd name="T4" fmla="*/ 69 w 85"/>
                <a:gd name="T5" fmla="*/ 95 h 101"/>
                <a:gd name="T6" fmla="*/ 58 w 85"/>
                <a:gd name="T7" fmla="*/ 100 h 101"/>
                <a:gd name="T8" fmla="*/ 45 w 85"/>
                <a:gd name="T9" fmla="*/ 101 h 101"/>
                <a:gd name="T10" fmla="*/ 27 w 85"/>
                <a:gd name="T11" fmla="*/ 98 h 101"/>
                <a:gd name="T12" fmla="*/ 13 w 85"/>
                <a:gd name="T13" fmla="*/ 87 h 101"/>
                <a:gd name="T14" fmla="*/ 3 w 85"/>
                <a:gd name="T15" fmla="*/ 71 h 101"/>
                <a:gd name="T16" fmla="*/ 0 w 85"/>
                <a:gd name="T17" fmla="*/ 51 h 101"/>
                <a:gd name="T18" fmla="*/ 3 w 85"/>
                <a:gd name="T19" fmla="*/ 30 h 101"/>
                <a:gd name="T20" fmla="*/ 13 w 85"/>
                <a:gd name="T21" fmla="*/ 14 h 101"/>
                <a:gd name="T22" fmla="*/ 28 w 85"/>
                <a:gd name="T23" fmla="*/ 4 h 101"/>
                <a:gd name="T24" fmla="*/ 46 w 85"/>
                <a:gd name="T25" fmla="*/ 0 h 101"/>
                <a:gd name="T26" fmla="*/ 68 w 85"/>
                <a:gd name="T27" fmla="*/ 5 h 101"/>
                <a:gd name="T28" fmla="*/ 85 w 85"/>
                <a:gd name="T29" fmla="*/ 21 h 101"/>
                <a:gd name="T30" fmla="*/ 68 w 85"/>
                <a:gd name="T31" fmla="*/ 38 h 101"/>
                <a:gd name="T32" fmla="*/ 63 w 85"/>
                <a:gd name="T33" fmla="*/ 33 h 101"/>
                <a:gd name="T34" fmla="*/ 58 w 85"/>
                <a:gd name="T35" fmla="*/ 28 h 101"/>
                <a:gd name="T36" fmla="*/ 53 w 85"/>
                <a:gd name="T37" fmla="*/ 26 h 101"/>
                <a:gd name="T38" fmla="*/ 46 w 85"/>
                <a:gd name="T39" fmla="*/ 25 h 101"/>
                <a:gd name="T40" fmla="*/ 37 w 85"/>
                <a:gd name="T41" fmla="*/ 26 h 101"/>
                <a:gd name="T42" fmla="*/ 31 w 85"/>
                <a:gd name="T43" fmla="*/ 32 h 101"/>
                <a:gd name="T44" fmla="*/ 27 w 85"/>
                <a:gd name="T45" fmla="*/ 40 h 101"/>
                <a:gd name="T46" fmla="*/ 26 w 85"/>
                <a:gd name="T47" fmla="*/ 51 h 101"/>
                <a:gd name="T48" fmla="*/ 27 w 85"/>
                <a:gd name="T49" fmla="*/ 61 h 101"/>
                <a:gd name="T50" fmla="*/ 31 w 85"/>
                <a:gd name="T51" fmla="*/ 69 h 101"/>
                <a:gd name="T52" fmla="*/ 37 w 85"/>
                <a:gd name="T53" fmla="*/ 75 h 101"/>
                <a:gd name="T54" fmla="*/ 46 w 85"/>
                <a:gd name="T55" fmla="*/ 77 h 101"/>
                <a:gd name="T56" fmla="*/ 52 w 85"/>
                <a:gd name="T57" fmla="*/ 76 h 101"/>
                <a:gd name="T58" fmla="*/ 58 w 85"/>
                <a:gd name="T59" fmla="*/ 73 h 101"/>
                <a:gd name="T60" fmla="*/ 64 w 85"/>
                <a:gd name="T61" fmla="*/ 69 h 101"/>
                <a:gd name="T62" fmla="*/ 69 w 85"/>
                <a:gd name="T63" fmla="*/ 64 h 101"/>
                <a:gd name="T64" fmla="*/ 85 w 85"/>
                <a:gd name="T65" fmla="*/ 8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5" h="101">
                  <a:moveTo>
                    <a:pt x="85" y="80"/>
                  </a:moveTo>
                  <a:cubicBezTo>
                    <a:pt x="83" y="83"/>
                    <a:pt x="80" y="86"/>
                    <a:pt x="77" y="88"/>
                  </a:cubicBezTo>
                  <a:cubicBezTo>
                    <a:pt x="75" y="91"/>
                    <a:pt x="72" y="93"/>
                    <a:pt x="69" y="95"/>
                  </a:cubicBezTo>
                  <a:cubicBezTo>
                    <a:pt x="65" y="97"/>
                    <a:pt x="62" y="98"/>
                    <a:pt x="58" y="100"/>
                  </a:cubicBezTo>
                  <a:cubicBezTo>
                    <a:pt x="54" y="101"/>
                    <a:pt x="50" y="101"/>
                    <a:pt x="45" y="101"/>
                  </a:cubicBezTo>
                  <a:cubicBezTo>
                    <a:pt x="39" y="101"/>
                    <a:pt x="33" y="100"/>
                    <a:pt x="27" y="98"/>
                  </a:cubicBezTo>
                  <a:cubicBezTo>
                    <a:pt x="22" y="95"/>
                    <a:pt x="17" y="92"/>
                    <a:pt x="13" y="87"/>
                  </a:cubicBezTo>
                  <a:cubicBezTo>
                    <a:pt x="9" y="83"/>
                    <a:pt x="5" y="77"/>
                    <a:pt x="3" y="71"/>
                  </a:cubicBezTo>
                  <a:cubicBezTo>
                    <a:pt x="1" y="65"/>
                    <a:pt x="0" y="58"/>
                    <a:pt x="0" y="51"/>
                  </a:cubicBezTo>
                  <a:cubicBezTo>
                    <a:pt x="0" y="43"/>
                    <a:pt x="1" y="36"/>
                    <a:pt x="3" y="30"/>
                  </a:cubicBezTo>
                  <a:cubicBezTo>
                    <a:pt x="5" y="24"/>
                    <a:pt x="9" y="19"/>
                    <a:pt x="13" y="14"/>
                  </a:cubicBezTo>
                  <a:cubicBezTo>
                    <a:pt x="17" y="10"/>
                    <a:pt x="22" y="6"/>
                    <a:pt x="28" y="4"/>
                  </a:cubicBezTo>
                  <a:cubicBezTo>
                    <a:pt x="33" y="1"/>
                    <a:pt x="39" y="0"/>
                    <a:pt x="46" y="0"/>
                  </a:cubicBezTo>
                  <a:cubicBezTo>
                    <a:pt x="54" y="0"/>
                    <a:pt x="62" y="2"/>
                    <a:pt x="68" y="5"/>
                  </a:cubicBezTo>
                  <a:cubicBezTo>
                    <a:pt x="74" y="9"/>
                    <a:pt x="80" y="14"/>
                    <a:pt x="85" y="21"/>
                  </a:cubicBezTo>
                  <a:cubicBezTo>
                    <a:pt x="68" y="38"/>
                    <a:pt x="68" y="38"/>
                    <a:pt x="68" y="38"/>
                  </a:cubicBezTo>
                  <a:cubicBezTo>
                    <a:pt x="66" y="36"/>
                    <a:pt x="65" y="35"/>
                    <a:pt x="63" y="33"/>
                  </a:cubicBezTo>
                  <a:cubicBezTo>
                    <a:pt x="62" y="31"/>
                    <a:pt x="60" y="30"/>
                    <a:pt x="58" y="28"/>
                  </a:cubicBezTo>
                  <a:cubicBezTo>
                    <a:pt x="57" y="27"/>
                    <a:pt x="55" y="26"/>
                    <a:pt x="53" y="26"/>
                  </a:cubicBezTo>
                  <a:cubicBezTo>
                    <a:pt x="51" y="25"/>
                    <a:pt x="48" y="25"/>
                    <a:pt x="46" y="25"/>
                  </a:cubicBezTo>
                  <a:cubicBezTo>
                    <a:pt x="43" y="25"/>
                    <a:pt x="40" y="25"/>
                    <a:pt x="37" y="26"/>
                  </a:cubicBezTo>
                  <a:cubicBezTo>
                    <a:pt x="35" y="28"/>
                    <a:pt x="33" y="29"/>
                    <a:pt x="31" y="32"/>
                  </a:cubicBezTo>
                  <a:cubicBezTo>
                    <a:pt x="29" y="34"/>
                    <a:pt x="28" y="37"/>
                    <a:pt x="27" y="40"/>
                  </a:cubicBezTo>
                  <a:cubicBezTo>
                    <a:pt x="26" y="43"/>
                    <a:pt x="26" y="47"/>
                    <a:pt x="26" y="51"/>
                  </a:cubicBezTo>
                  <a:cubicBezTo>
                    <a:pt x="26" y="55"/>
                    <a:pt x="26" y="58"/>
                    <a:pt x="27" y="61"/>
                  </a:cubicBezTo>
                  <a:cubicBezTo>
                    <a:pt x="28" y="64"/>
                    <a:pt x="29" y="67"/>
                    <a:pt x="31" y="69"/>
                  </a:cubicBezTo>
                  <a:cubicBezTo>
                    <a:pt x="33" y="72"/>
                    <a:pt x="35" y="73"/>
                    <a:pt x="37" y="75"/>
                  </a:cubicBezTo>
                  <a:cubicBezTo>
                    <a:pt x="40" y="76"/>
                    <a:pt x="43" y="77"/>
                    <a:pt x="46" y="77"/>
                  </a:cubicBezTo>
                  <a:cubicBezTo>
                    <a:pt x="48" y="77"/>
                    <a:pt x="50" y="76"/>
                    <a:pt x="52" y="76"/>
                  </a:cubicBezTo>
                  <a:cubicBezTo>
                    <a:pt x="55" y="75"/>
                    <a:pt x="57" y="74"/>
                    <a:pt x="58" y="73"/>
                  </a:cubicBezTo>
                  <a:cubicBezTo>
                    <a:pt x="60" y="72"/>
                    <a:pt x="62" y="71"/>
                    <a:pt x="64" y="69"/>
                  </a:cubicBezTo>
                  <a:cubicBezTo>
                    <a:pt x="65" y="68"/>
                    <a:pt x="67" y="66"/>
                    <a:pt x="69" y="64"/>
                  </a:cubicBezTo>
                  <a:lnTo>
                    <a:pt x="85" y="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96" name="Freeform 13">
              <a:extLst>
                <a:ext uri="{FF2B5EF4-FFF2-40B4-BE49-F238E27FC236}">
                  <a16:creationId xmlns:a16="http://schemas.microsoft.com/office/drawing/2014/main" id="{2280FDE2-015D-4B7A-8900-05F5FB783060}"/>
                </a:ext>
              </a:extLst>
            </p:cNvPr>
            <p:cNvSpPr>
              <a:spLocks/>
            </p:cNvSpPr>
            <p:nvPr/>
          </p:nvSpPr>
          <p:spPr bwMode="white">
            <a:xfrm>
              <a:off x="10297911" y="1406980"/>
              <a:ext cx="57529" cy="91524"/>
            </a:xfrm>
            <a:custGeom>
              <a:avLst/>
              <a:gdLst>
                <a:gd name="T0" fmla="*/ 59 w 84"/>
                <a:gd name="T1" fmla="*/ 135 h 135"/>
                <a:gd name="T2" fmla="*/ 59 w 84"/>
                <a:gd name="T3" fmla="*/ 83 h 135"/>
                <a:gd name="T4" fmla="*/ 55 w 84"/>
                <a:gd name="T5" fmla="*/ 66 h 135"/>
                <a:gd name="T6" fmla="*/ 42 w 84"/>
                <a:gd name="T7" fmla="*/ 60 h 135"/>
                <a:gd name="T8" fmla="*/ 35 w 84"/>
                <a:gd name="T9" fmla="*/ 61 h 135"/>
                <a:gd name="T10" fmla="*/ 30 w 84"/>
                <a:gd name="T11" fmla="*/ 65 h 135"/>
                <a:gd name="T12" fmla="*/ 27 w 84"/>
                <a:gd name="T13" fmla="*/ 71 h 135"/>
                <a:gd name="T14" fmla="*/ 25 w 84"/>
                <a:gd name="T15" fmla="*/ 82 h 135"/>
                <a:gd name="T16" fmla="*/ 25 w 84"/>
                <a:gd name="T17" fmla="*/ 135 h 135"/>
                <a:gd name="T18" fmla="*/ 0 w 84"/>
                <a:gd name="T19" fmla="*/ 135 h 135"/>
                <a:gd name="T20" fmla="*/ 0 w 84"/>
                <a:gd name="T21" fmla="*/ 13 h 135"/>
                <a:gd name="T22" fmla="*/ 25 w 84"/>
                <a:gd name="T23" fmla="*/ 0 h 135"/>
                <a:gd name="T24" fmla="*/ 25 w 84"/>
                <a:gd name="T25" fmla="*/ 44 h 135"/>
                <a:gd name="T26" fmla="*/ 29 w 84"/>
                <a:gd name="T27" fmla="*/ 41 h 135"/>
                <a:gd name="T28" fmla="*/ 35 w 84"/>
                <a:gd name="T29" fmla="*/ 38 h 135"/>
                <a:gd name="T30" fmla="*/ 41 w 84"/>
                <a:gd name="T31" fmla="*/ 37 h 135"/>
                <a:gd name="T32" fmla="*/ 48 w 84"/>
                <a:gd name="T33" fmla="*/ 36 h 135"/>
                <a:gd name="T34" fmla="*/ 64 w 84"/>
                <a:gd name="T35" fmla="*/ 39 h 135"/>
                <a:gd name="T36" fmla="*/ 75 w 84"/>
                <a:gd name="T37" fmla="*/ 48 h 135"/>
                <a:gd name="T38" fmla="*/ 82 w 84"/>
                <a:gd name="T39" fmla="*/ 62 h 135"/>
                <a:gd name="T40" fmla="*/ 84 w 84"/>
                <a:gd name="T41" fmla="*/ 80 h 135"/>
                <a:gd name="T42" fmla="*/ 84 w 84"/>
                <a:gd name="T43" fmla="*/ 135 h 135"/>
                <a:gd name="T44" fmla="*/ 59 w 84"/>
                <a:gd name="T45" fmla="*/ 135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4" h="135">
                  <a:moveTo>
                    <a:pt x="59" y="135"/>
                  </a:moveTo>
                  <a:cubicBezTo>
                    <a:pt x="59" y="83"/>
                    <a:pt x="59" y="83"/>
                    <a:pt x="59" y="83"/>
                  </a:cubicBezTo>
                  <a:cubicBezTo>
                    <a:pt x="59" y="75"/>
                    <a:pt x="57" y="69"/>
                    <a:pt x="55" y="66"/>
                  </a:cubicBezTo>
                  <a:cubicBezTo>
                    <a:pt x="52" y="62"/>
                    <a:pt x="48" y="60"/>
                    <a:pt x="42" y="60"/>
                  </a:cubicBezTo>
                  <a:cubicBezTo>
                    <a:pt x="39" y="60"/>
                    <a:pt x="37" y="60"/>
                    <a:pt x="35" y="61"/>
                  </a:cubicBezTo>
                  <a:cubicBezTo>
                    <a:pt x="33" y="62"/>
                    <a:pt x="31" y="63"/>
                    <a:pt x="30" y="65"/>
                  </a:cubicBezTo>
                  <a:cubicBezTo>
                    <a:pt x="28" y="66"/>
                    <a:pt x="27" y="69"/>
                    <a:pt x="27" y="71"/>
                  </a:cubicBezTo>
                  <a:cubicBezTo>
                    <a:pt x="26" y="74"/>
                    <a:pt x="25" y="78"/>
                    <a:pt x="25" y="82"/>
                  </a:cubicBezTo>
                  <a:cubicBezTo>
                    <a:pt x="25" y="135"/>
                    <a:pt x="25" y="135"/>
                    <a:pt x="25" y="135"/>
                  </a:cubicBezTo>
                  <a:cubicBezTo>
                    <a:pt x="0" y="135"/>
                    <a:pt x="0" y="135"/>
                    <a:pt x="0" y="135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44"/>
                    <a:pt x="25" y="44"/>
                    <a:pt x="25" y="44"/>
                  </a:cubicBezTo>
                  <a:cubicBezTo>
                    <a:pt x="27" y="43"/>
                    <a:pt x="28" y="42"/>
                    <a:pt x="29" y="41"/>
                  </a:cubicBezTo>
                  <a:cubicBezTo>
                    <a:pt x="31" y="40"/>
                    <a:pt x="33" y="39"/>
                    <a:pt x="35" y="38"/>
                  </a:cubicBezTo>
                  <a:cubicBezTo>
                    <a:pt x="37" y="38"/>
                    <a:pt x="39" y="37"/>
                    <a:pt x="41" y="37"/>
                  </a:cubicBezTo>
                  <a:cubicBezTo>
                    <a:pt x="43" y="36"/>
                    <a:pt x="46" y="36"/>
                    <a:pt x="48" y="36"/>
                  </a:cubicBezTo>
                  <a:cubicBezTo>
                    <a:pt x="54" y="36"/>
                    <a:pt x="60" y="37"/>
                    <a:pt x="64" y="39"/>
                  </a:cubicBezTo>
                  <a:cubicBezTo>
                    <a:pt x="69" y="41"/>
                    <a:pt x="73" y="44"/>
                    <a:pt x="75" y="48"/>
                  </a:cubicBezTo>
                  <a:cubicBezTo>
                    <a:pt x="78" y="52"/>
                    <a:pt x="81" y="56"/>
                    <a:pt x="82" y="62"/>
                  </a:cubicBezTo>
                  <a:cubicBezTo>
                    <a:pt x="83" y="67"/>
                    <a:pt x="84" y="74"/>
                    <a:pt x="84" y="80"/>
                  </a:cubicBezTo>
                  <a:cubicBezTo>
                    <a:pt x="84" y="135"/>
                    <a:pt x="84" y="135"/>
                    <a:pt x="84" y="135"/>
                  </a:cubicBezTo>
                  <a:lnTo>
                    <a:pt x="59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97" name="Freeform 14">
              <a:extLst>
                <a:ext uri="{FF2B5EF4-FFF2-40B4-BE49-F238E27FC236}">
                  <a16:creationId xmlns:a16="http://schemas.microsoft.com/office/drawing/2014/main" id="{D3D1BB3D-6AD6-4BE1-893D-EBCB285005E9}"/>
                </a:ext>
              </a:extLst>
            </p:cNvPr>
            <p:cNvSpPr>
              <a:spLocks/>
            </p:cNvSpPr>
            <p:nvPr/>
          </p:nvSpPr>
          <p:spPr bwMode="white">
            <a:xfrm>
              <a:off x="10372438" y="1406980"/>
              <a:ext cx="16998" cy="91524"/>
            </a:xfrm>
            <a:custGeom>
              <a:avLst/>
              <a:gdLst>
                <a:gd name="T0" fmla="*/ 0 w 13"/>
                <a:gd name="T1" fmla="*/ 70 h 70"/>
                <a:gd name="T2" fmla="*/ 0 w 13"/>
                <a:gd name="T3" fmla="*/ 6 h 70"/>
                <a:gd name="T4" fmla="*/ 13 w 13"/>
                <a:gd name="T5" fmla="*/ 0 h 70"/>
                <a:gd name="T6" fmla="*/ 13 w 13"/>
                <a:gd name="T7" fmla="*/ 70 h 70"/>
                <a:gd name="T8" fmla="*/ 0 w 13"/>
                <a:gd name="T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70">
                  <a:moveTo>
                    <a:pt x="0" y="70"/>
                  </a:moveTo>
                  <a:lnTo>
                    <a:pt x="0" y="6"/>
                  </a:lnTo>
                  <a:lnTo>
                    <a:pt x="13" y="0"/>
                  </a:lnTo>
                  <a:lnTo>
                    <a:pt x="13" y="70"/>
                  </a:lnTo>
                  <a:lnTo>
                    <a:pt x="0" y="7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98" name="Freeform 15">
              <a:extLst>
                <a:ext uri="{FF2B5EF4-FFF2-40B4-BE49-F238E27FC236}">
                  <a16:creationId xmlns:a16="http://schemas.microsoft.com/office/drawing/2014/main" id="{98B7DF92-85DC-454B-9A4B-F9A35E6A3C3A}"/>
                </a:ext>
              </a:extLst>
            </p:cNvPr>
            <p:cNvSpPr>
              <a:spLocks noEditPoints="1"/>
            </p:cNvSpPr>
            <p:nvPr/>
          </p:nvSpPr>
          <p:spPr bwMode="white">
            <a:xfrm>
              <a:off x="10403818" y="1430515"/>
              <a:ext cx="57529" cy="69297"/>
            </a:xfrm>
            <a:custGeom>
              <a:avLst/>
              <a:gdLst>
                <a:gd name="T0" fmla="*/ 58 w 83"/>
                <a:gd name="T1" fmla="*/ 99 h 101"/>
                <a:gd name="T2" fmla="*/ 58 w 83"/>
                <a:gd name="T3" fmla="*/ 93 h 101"/>
                <a:gd name="T4" fmla="*/ 54 w 83"/>
                <a:gd name="T5" fmla="*/ 96 h 101"/>
                <a:gd name="T6" fmla="*/ 49 w 83"/>
                <a:gd name="T7" fmla="*/ 99 h 101"/>
                <a:gd name="T8" fmla="*/ 42 w 83"/>
                <a:gd name="T9" fmla="*/ 101 h 101"/>
                <a:gd name="T10" fmla="*/ 36 w 83"/>
                <a:gd name="T11" fmla="*/ 101 h 101"/>
                <a:gd name="T12" fmla="*/ 23 w 83"/>
                <a:gd name="T13" fmla="*/ 99 h 101"/>
                <a:gd name="T14" fmla="*/ 11 w 83"/>
                <a:gd name="T15" fmla="*/ 93 h 101"/>
                <a:gd name="T16" fmla="*/ 3 w 83"/>
                <a:gd name="T17" fmla="*/ 82 h 101"/>
                <a:gd name="T18" fmla="*/ 0 w 83"/>
                <a:gd name="T19" fmla="*/ 67 h 101"/>
                <a:gd name="T20" fmla="*/ 3 w 83"/>
                <a:gd name="T21" fmla="*/ 53 h 101"/>
                <a:gd name="T22" fmla="*/ 11 w 83"/>
                <a:gd name="T23" fmla="*/ 42 h 101"/>
                <a:gd name="T24" fmla="*/ 24 w 83"/>
                <a:gd name="T25" fmla="*/ 36 h 101"/>
                <a:gd name="T26" fmla="*/ 39 w 83"/>
                <a:gd name="T27" fmla="*/ 34 h 101"/>
                <a:gd name="T28" fmla="*/ 50 w 83"/>
                <a:gd name="T29" fmla="*/ 36 h 101"/>
                <a:gd name="T30" fmla="*/ 58 w 83"/>
                <a:gd name="T31" fmla="*/ 38 h 101"/>
                <a:gd name="T32" fmla="*/ 58 w 83"/>
                <a:gd name="T33" fmla="*/ 33 h 101"/>
                <a:gd name="T34" fmla="*/ 54 w 83"/>
                <a:gd name="T35" fmla="*/ 25 h 101"/>
                <a:gd name="T36" fmla="*/ 44 w 83"/>
                <a:gd name="T37" fmla="*/ 21 h 101"/>
                <a:gd name="T38" fmla="*/ 30 w 83"/>
                <a:gd name="T39" fmla="*/ 22 h 101"/>
                <a:gd name="T40" fmla="*/ 17 w 83"/>
                <a:gd name="T41" fmla="*/ 27 h 101"/>
                <a:gd name="T42" fmla="*/ 7 w 83"/>
                <a:gd name="T43" fmla="*/ 10 h 101"/>
                <a:gd name="T44" fmla="*/ 25 w 83"/>
                <a:gd name="T45" fmla="*/ 2 h 101"/>
                <a:gd name="T46" fmla="*/ 44 w 83"/>
                <a:gd name="T47" fmla="*/ 0 h 101"/>
                <a:gd name="T48" fmla="*/ 60 w 83"/>
                <a:gd name="T49" fmla="*/ 2 h 101"/>
                <a:gd name="T50" fmla="*/ 72 w 83"/>
                <a:gd name="T51" fmla="*/ 9 h 101"/>
                <a:gd name="T52" fmla="*/ 80 w 83"/>
                <a:gd name="T53" fmla="*/ 19 h 101"/>
                <a:gd name="T54" fmla="*/ 83 w 83"/>
                <a:gd name="T55" fmla="*/ 34 h 101"/>
                <a:gd name="T56" fmla="*/ 83 w 83"/>
                <a:gd name="T57" fmla="*/ 99 h 101"/>
                <a:gd name="T58" fmla="*/ 58 w 83"/>
                <a:gd name="T59" fmla="*/ 99 h 101"/>
                <a:gd name="T60" fmla="*/ 58 w 83"/>
                <a:gd name="T61" fmla="*/ 58 h 101"/>
                <a:gd name="T62" fmla="*/ 54 w 83"/>
                <a:gd name="T63" fmla="*/ 57 h 101"/>
                <a:gd name="T64" fmla="*/ 51 w 83"/>
                <a:gd name="T65" fmla="*/ 55 h 101"/>
                <a:gd name="T66" fmla="*/ 46 w 83"/>
                <a:gd name="T67" fmla="*/ 55 h 101"/>
                <a:gd name="T68" fmla="*/ 40 w 83"/>
                <a:gd name="T69" fmla="*/ 54 h 101"/>
                <a:gd name="T70" fmla="*/ 29 w 83"/>
                <a:gd name="T71" fmla="*/ 58 h 101"/>
                <a:gd name="T72" fmla="*/ 25 w 83"/>
                <a:gd name="T73" fmla="*/ 67 h 101"/>
                <a:gd name="T74" fmla="*/ 26 w 83"/>
                <a:gd name="T75" fmla="*/ 71 h 101"/>
                <a:gd name="T76" fmla="*/ 28 w 83"/>
                <a:gd name="T77" fmla="*/ 76 h 101"/>
                <a:gd name="T78" fmla="*/ 33 w 83"/>
                <a:gd name="T79" fmla="*/ 78 h 101"/>
                <a:gd name="T80" fmla="*/ 40 w 83"/>
                <a:gd name="T81" fmla="*/ 80 h 101"/>
                <a:gd name="T82" fmla="*/ 46 w 83"/>
                <a:gd name="T83" fmla="*/ 79 h 101"/>
                <a:gd name="T84" fmla="*/ 51 w 83"/>
                <a:gd name="T85" fmla="*/ 77 h 101"/>
                <a:gd name="T86" fmla="*/ 55 w 83"/>
                <a:gd name="T87" fmla="*/ 74 h 101"/>
                <a:gd name="T88" fmla="*/ 58 w 83"/>
                <a:gd name="T89" fmla="*/ 71 h 101"/>
                <a:gd name="T90" fmla="*/ 58 w 83"/>
                <a:gd name="T91" fmla="*/ 5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83" h="101">
                  <a:moveTo>
                    <a:pt x="58" y="99"/>
                  </a:moveTo>
                  <a:cubicBezTo>
                    <a:pt x="58" y="93"/>
                    <a:pt x="58" y="93"/>
                    <a:pt x="58" y="93"/>
                  </a:cubicBezTo>
                  <a:cubicBezTo>
                    <a:pt x="57" y="94"/>
                    <a:pt x="55" y="95"/>
                    <a:pt x="54" y="96"/>
                  </a:cubicBezTo>
                  <a:cubicBezTo>
                    <a:pt x="52" y="97"/>
                    <a:pt x="51" y="98"/>
                    <a:pt x="49" y="99"/>
                  </a:cubicBezTo>
                  <a:cubicBezTo>
                    <a:pt x="47" y="100"/>
                    <a:pt x="44" y="100"/>
                    <a:pt x="42" y="101"/>
                  </a:cubicBezTo>
                  <a:cubicBezTo>
                    <a:pt x="40" y="101"/>
                    <a:pt x="38" y="101"/>
                    <a:pt x="36" y="101"/>
                  </a:cubicBezTo>
                  <a:cubicBezTo>
                    <a:pt x="31" y="101"/>
                    <a:pt x="27" y="100"/>
                    <a:pt x="23" y="99"/>
                  </a:cubicBezTo>
                  <a:cubicBezTo>
                    <a:pt x="18" y="98"/>
                    <a:pt x="14" y="96"/>
                    <a:pt x="11" y="93"/>
                  </a:cubicBezTo>
                  <a:cubicBezTo>
                    <a:pt x="8" y="90"/>
                    <a:pt x="5" y="86"/>
                    <a:pt x="3" y="82"/>
                  </a:cubicBezTo>
                  <a:cubicBezTo>
                    <a:pt x="1" y="78"/>
                    <a:pt x="0" y="73"/>
                    <a:pt x="0" y="67"/>
                  </a:cubicBezTo>
                  <a:cubicBezTo>
                    <a:pt x="0" y="61"/>
                    <a:pt x="1" y="57"/>
                    <a:pt x="3" y="53"/>
                  </a:cubicBezTo>
                  <a:cubicBezTo>
                    <a:pt x="5" y="48"/>
                    <a:pt x="8" y="45"/>
                    <a:pt x="11" y="42"/>
                  </a:cubicBezTo>
                  <a:cubicBezTo>
                    <a:pt x="15" y="40"/>
                    <a:pt x="19" y="38"/>
                    <a:pt x="24" y="36"/>
                  </a:cubicBezTo>
                  <a:cubicBezTo>
                    <a:pt x="28" y="35"/>
                    <a:pt x="33" y="34"/>
                    <a:pt x="39" y="34"/>
                  </a:cubicBezTo>
                  <a:cubicBezTo>
                    <a:pt x="43" y="34"/>
                    <a:pt x="47" y="35"/>
                    <a:pt x="50" y="36"/>
                  </a:cubicBezTo>
                  <a:cubicBezTo>
                    <a:pt x="53" y="36"/>
                    <a:pt x="56" y="37"/>
                    <a:pt x="58" y="38"/>
                  </a:cubicBezTo>
                  <a:cubicBezTo>
                    <a:pt x="58" y="33"/>
                    <a:pt x="58" y="33"/>
                    <a:pt x="58" y="33"/>
                  </a:cubicBezTo>
                  <a:cubicBezTo>
                    <a:pt x="58" y="30"/>
                    <a:pt x="56" y="27"/>
                    <a:pt x="54" y="25"/>
                  </a:cubicBezTo>
                  <a:cubicBezTo>
                    <a:pt x="52" y="22"/>
                    <a:pt x="48" y="21"/>
                    <a:pt x="44" y="21"/>
                  </a:cubicBezTo>
                  <a:cubicBezTo>
                    <a:pt x="38" y="21"/>
                    <a:pt x="33" y="21"/>
                    <a:pt x="30" y="22"/>
                  </a:cubicBezTo>
                  <a:cubicBezTo>
                    <a:pt x="26" y="23"/>
                    <a:pt x="22" y="25"/>
                    <a:pt x="17" y="27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14" y="6"/>
                    <a:pt x="19" y="4"/>
                    <a:pt x="25" y="2"/>
                  </a:cubicBezTo>
                  <a:cubicBezTo>
                    <a:pt x="30" y="1"/>
                    <a:pt x="37" y="0"/>
                    <a:pt x="44" y="0"/>
                  </a:cubicBezTo>
                  <a:cubicBezTo>
                    <a:pt x="50" y="0"/>
                    <a:pt x="55" y="1"/>
                    <a:pt x="60" y="2"/>
                  </a:cubicBezTo>
                  <a:cubicBezTo>
                    <a:pt x="65" y="4"/>
                    <a:pt x="69" y="6"/>
                    <a:pt x="72" y="9"/>
                  </a:cubicBezTo>
                  <a:cubicBezTo>
                    <a:pt x="76" y="12"/>
                    <a:pt x="79" y="15"/>
                    <a:pt x="80" y="19"/>
                  </a:cubicBezTo>
                  <a:cubicBezTo>
                    <a:pt x="82" y="24"/>
                    <a:pt x="83" y="29"/>
                    <a:pt x="83" y="34"/>
                  </a:cubicBezTo>
                  <a:cubicBezTo>
                    <a:pt x="83" y="99"/>
                    <a:pt x="83" y="99"/>
                    <a:pt x="83" y="99"/>
                  </a:cubicBezTo>
                  <a:lnTo>
                    <a:pt x="58" y="99"/>
                  </a:lnTo>
                  <a:close/>
                  <a:moveTo>
                    <a:pt x="58" y="58"/>
                  </a:moveTo>
                  <a:cubicBezTo>
                    <a:pt x="57" y="58"/>
                    <a:pt x="55" y="57"/>
                    <a:pt x="54" y="57"/>
                  </a:cubicBezTo>
                  <a:cubicBezTo>
                    <a:pt x="53" y="56"/>
                    <a:pt x="52" y="56"/>
                    <a:pt x="51" y="55"/>
                  </a:cubicBezTo>
                  <a:cubicBezTo>
                    <a:pt x="49" y="55"/>
                    <a:pt x="48" y="55"/>
                    <a:pt x="46" y="55"/>
                  </a:cubicBezTo>
                  <a:cubicBezTo>
                    <a:pt x="44" y="54"/>
                    <a:pt x="42" y="54"/>
                    <a:pt x="40" y="54"/>
                  </a:cubicBezTo>
                  <a:cubicBezTo>
                    <a:pt x="35" y="54"/>
                    <a:pt x="31" y="55"/>
                    <a:pt x="29" y="58"/>
                  </a:cubicBezTo>
                  <a:cubicBezTo>
                    <a:pt x="26" y="60"/>
                    <a:pt x="25" y="63"/>
                    <a:pt x="25" y="67"/>
                  </a:cubicBezTo>
                  <a:cubicBezTo>
                    <a:pt x="25" y="68"/>
                    <a:pt x="25" y="70"/>
                    <a:pt x="26" y="71"/>
                  </a:cubicBezTo>
                  <a:cubicBezTo>
                    <a:pt x="26" y="73"/>
                    <a:pt x="27" y="74"/>
                    <a:pt x="28" y="76"/>
                  </a:cubicBezTo>
                  <a:cubicBezTo>
                    <a:pt x="30" y="77"/>
                    <a:pt x="31" y="78"/>
                    <a:pt x="33" y="78"/>
                  </a:cubicBezTo>
                  <a:cubicBezTo>
                    <a:pt x="35" y="79"/>
                    <a:pt x="37" y="80"/>
                    <a:pt x="40" y="80"/>
                  </a:cubicBezTo>
                  <a:cubicBezTo>
                    <a:pt x="42" y="80"/>
                    <a:pt x="44" y="79"/>
                    <a:pt x="46" y="79"/>
                  </a:cubicBezTo>
                  <a:cubicBezTo>
                    <a:pt x="48" y="78"/>
                    <a:pt x="49" y="78"/>
                    <a:pt x="51" y="77"/>
                  </a:cubicBezTo>
                  <a:cubicBezTo>
                    <a:pt x="52" y="76"/>
                    <a:pt x="54" y="75"/>
                    <a:pt x="55" y="74"/>
                  </a:cubicBezTo>
                  <a:cubicBezTo>
                    <a:pt x="56" y="73"/>
                    <a:pt x="57" y="72"/>
                    <a:pt x="58" y="71"/>
                  </a:cubicBezTo>
                  <a:lnTo>
                    <a:pt x="58" y="5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99" name="Freeform 16">
              <a:extLst>
                <a:ext uri="{FF2B5EF4-FFF2-40B4-BE49-F238E27FC236}">
                  <a16:creationId xmlns:a16="http://schemas.microsoft.com/office/drawing/2014/main" id="{42944BA6-F9C0-48FA-B96D-E1DF6E30FA74}"/>
                </a:ext>
              </a:extLst>
            </p:cNvPr>
            <p:cNvSpPr>
              <a:spLocks/>
            </p:cNvSpPr>
            <p:nvPr/>
          </p:nvSpPr>
          <p:spPr bwMode="white">
            <a:xfrm>
              <a:off x="10477037" y="1430515"/>
              <a:ext cx="57529" cy="67989"/>
            </a:xfrm>
            <a:custGeom>
              <a:avLst/>
              <a:gdLst>
                <a:gd name="T0" fmla="*/ 59 w 84"/>
                <a:gd name="T1" fmla="*/ 99 h 99"/>
                <a:gd name="T2" fmla="*/ 59 w 84"/>
                <a:gd name="T3" fmla="*/ 47 h 99"/>
                <a:gd name="T4" fmla="*/ 55 w 84"/>
                <a:gd name="T5" fmla="*/ 30 h 99"/>
                <a:gd name="T6" fmla="*/ 42 w 84"/>
                <a:gd name="T7" fmla="*/ 24 h 99"/>
                <a:gd name="T8" fmla="*/ 35 w 84"/>
                <a:gd name="T9" fmla="*/ 25 h 99"/>
                <a:gd name="T10" fmla="*/ 30 w 84"/>
                <a:gd name="T11" fmla="*/ 29 h 99"/>
                <a:gd name="T12" fmla="*/ 27 w 84"/>
                <a:gd name="T13" fmla="*/ 35 h 99"/>
                <a:gd name="T14" fmla="*/ 26 w 84"/>
                <a:gd name="T15" fmla="*/ 46 h 99"/>
                <a:gd name="T16" fmla="*/ 26 w 84"/>
                <a:gd name="T17" fmla="*/ 99 h 99"/>
                <a:gd name="T18" fmla="*/ 0 w 84"/>
                <a:gd name="T19" fmla="*/ 99 h 99"/>
                <a:gd name="T20" fmla="*/ 0 w 84"/>
                <a:gd name="T21" fmla="*/ 2 h 99"/>
                <a:gd name="T22" fmla="*/ 26 w 84"/>
                <a:gd name="T23" fmla="*/ 2 h 99"/>
                <a:gd name="T24" fmla="*/ 26 w 84"/>
                <a:gd name="T25" fmla="*/ 8 h 99"/>
                <a:gd name="T26" fmla="*/ 30 w 84"/>
                <a:gd name="T27" fmla="*/ 5 h 99"/>
                <a:gd name="T28" fmla="*/ 35 w 84"/>
                <a:gd name="T29" fmla="*/ 2 h 99"/>
                <a:gd name="T30" fmla="*/ 41 w 84"/>
                <a:gd name="T31" fmla="*/ 1 h 99"/>
                <a:gd name="T32" fmla="*/ 48 w 84"/>
                <a:gd name="T33" fmla="*/ 0 h 99"/>
                <a:gd name="T34" fmla="*/ 64 w 84"/>
                <a:gd name="T35" fmla="*/ 3 h 99"/>
                <a:gd name="T36" fmla="*/ 76 w 84"/>
                <a:gd name="T37" fmla="*/ 12 h 99"/>
                <a:gd name="T38" fmla="*/ 82 w 84"/>
                <a:gd name="T39" fmla="*/ 26 h 99"/>
                <a:gd name="T40" fmla="*/ 84 w 84"/>
                <a:gd name="T41" fmla="*/ 44 h 99"/>
                <a:gd name="T42" fmla="*/ 84 w 84"/>
                <a:gd name="T43" fmla="*/ 99 h 99"/>
                <a:gd name="T44" fmla="*/ 59 w 84"/>
                <a:gd name="T45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4" h="99">
                  <a:moveTo>
                    <a:pt x="59" y="99"/>
                  </a:moveTo>
                  <a:cubicBezTo>
                    <a:pt x="59" y="47"/>
                    <a:pt x="59" y="47"/>
                    <a:pt x="59" y="47"/>
                  </a:cubicBezTo>
                  <a:cubicBezTo>
                    <a:pt x="59" y="39"/>
                    <a:pt x="58" y="33"/>
                    <a:pt x="55" y="30"/>
                  </a:cubicBezTo>
                  <a:cubicBezTo>
                    <a:pt x="53" y="26"/>
                    <a:pt x="48" y="24"/>
                    <a:pt x="42" y="24"/>
                  </a:cubicBezTo>
                  <a:cubicBezTo>
                    <a:pt x="40" y="24"/>
                    <a:pt x="37" y="24"/>
                    <a:pt x="35" y="25"/>
                  </a:cubicBezTo>
                  <a:cubicBezTo>
                    <a:pt x="33" y="26"/>
                    <a:pt x="31" y="27"/>
                    <a:pt x="30" y="29"/>
                  </a:cubicBezTo>
                  <a:cubicBezTo>
                    <a:pt x="29" y="30"/>
                    <a:pt x="28" y="33"/>
                    <a:pt x="27" y="35"/>
                  </a:cubicBezTo>
                  <a:cubicBezTo>
                    <a:pt x="26" y="38"/>
                    <a:pt x="26" y="42"/>
                    <a:pt x="26" y="46"/>
                  </a:cubicBezTo>
                  <a:cubicBezTo>
                    <a:pt x="26" y="99"/>
                    <a:pt x="26" y="99"/>
                    <a:pt x="26" y="99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7" y="7"/>
                    <a:pt x="28" y="6"/>
                    <a:pt x="30" y="5"/>
                  </a:cubicBezTo>
                  <a:cubicBezTo>
                    <a:pt x="31" y="4"/>
                    <a:pt x="33" y="3"/>
                    <a:pt x="35" y="2"/>
                  </a:cubicBezTo>
                  <a:cubicBezTo>
                    <a:pt x="37" y="2"/>
                    <a:pt x="39" y="1"/>
                    <a:pt x="41" y="1"/>
                  </a:cubicBezTo>
                  <a:cubicBezTo>
                    <a:pt x="44" y="0"/>
                    <a:pt x="46" y="0"/>
                    <a:pt x="48" y="0"/>
                  </a:cubicBezTo>
                  <a:cubicBezTo>
                    <a:pt x="55" y="0"/>
                    <a:pt x="60" y="1"/>
                    <a:pt x="64" y="3"/>
                  </a:cubicBezTo>
                  <a:cubicBezTo>
                    <a:pt x="69" y="5"/>
                    <a:pt x="73" y="8"/>
                    <a:pt x="76" y="12"/>
                  </a:cubicBezTo>
                  <a:cubicBezTo>
                    <a:pt x="79" y="16"/>
                    <a:pt x="81" y="20"/>
                    <a:pt x="82" y="26"/>
                  </a:cubicBezTo>
                  <a:cubicBezTo>
                    <a:pt x="84" y="31"/>
                    <a:pt x="84" y="38"/>
                    <a:pt x="84" y="44"/>
                  </a:cubicBezTo>
                  <a:cubicBezTo>
                    <a:pt x="84" y="99"/>
                    <a:pt x="84" y="99"/>
                    <a:pt x="84" y="99"/>
                  </a:cubicBezTo>
                  <a:lnTo>
                    <a:pt x="59" y="9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00" name="Freeform 17">
              <a:extLst>
                <a:ext uri="{FF2B5EF4-FFF2-40B4-BE49-F238E27FC236}">
                  <a16:creationId xmlns:a16="http://schemas.microsoft.com/office/drawing/2014/main" id="{AD76CDEE-75C6-43F6-B367-6EF14BC3B7FE}"/>
                </a:ext>
              </a:extLst>
            </p:cNvPr>
            <p:cNvSpPr>
              <a:spLocks noEditPoints="1"/>
            </p:cNvSpPr>
            <p:nvPr/>
          </p:nvSpPr>
          <p:spPr bwMode="white">
            <a:xfrm>
              <a:off x="10547642" y="1406980"/>
              <a:ext cx="57529" cy="92832"/>
            </a:xfrm>
            <a:custGeom>
              <a:avLst/>
              <a:gdLst>
                <a:gd name="T0" fmla="*/ 58 w 84"/>
                <a:gd name="T1" fmla="*/ 135 h 137"/>
                <a:gd name="T2" fmla="*/ 58 w 84"/>
                <a:gd name="T3" fmla="*/ 129 h 137"/>
                <a:gd name="T4" fmla="*/ 55 w 84"/>
                <a:gd name="T5" fmla="*/ 132 h 137"/>
                <a:gd name="T6" fmla="*/ 50 w 84"/>
                <a:gd name="T7" fmla="*/ 135 h 137"/>
                <a:gd name="T8" fmla="*/ 45 w 84"/>
                <a:gd name="T9" fmla="*/ 137 h 137"/>
                <a:gd name="T10" fmla="*/ 38 w 84"/>
                <a:gd name="T11" fmla="*/ 137 h 137"/>
                <a:gd name="T12" fmla="*/ 23 w 84"/>
                <a:gd name="T13" fmla="*/ 134 h 137"/>
                <a:gd name="T14" fmla="*/ 11 w 84"/>
                <a:gd name="T15" fmla="*/ 125 h 137"/>
                <a:gd name="T16" fmla="*/ 3 w 84"/>
                <a:gd name="T17" fmla="*/ 109 h 137"/>
                <a:gd name="T18" fmla="*/ 0 w 84"/>
                <a:gd name="T19" fmla="*/ 85 h 137"/>
                <a:gd name="T20" fmla="*/ 3 w 84"/>
                <a:gd name="T21" fmla="*/ 65 h 137"/>
                <a:gd name="T22" fmla="*/ 10 w 84"/>
                <a:gd name="T23" fmla="*/ 50 h 137"/>
                <a:gd name="T24" fmla="*/ 22 w 84"/>
                <a:gd name="T25" fmla="*/ 40 h 137"/>
                <a:gd name="T26" fmla="*/ 38 w 84"/>
                <a:gd name="T27" fmla="*/ 36 h 137"/>
                <a:gd name="T28" fmla="*/ 44 w 84"/>
                <a:gd name="T29" fmla="*/ 36 h 137"/>
                <a:gd name="T30" fmla="*/ 50 w 84"/>
                <a:gd name="T31" fmla="*/ 38 h 137"/>
                <a:gd name="T32" fmla="*/ 55 w 84"/>
                <a:gd name="T33" fmla="*/ 41 h 137"/>
                <a:gd name="T34" fmla="*/ 58 w 84"/>
                <a:gd name="T35" fmla="*/ 44 h 137"/>
                <a:gd name="T36" fmla="*/ 58 w 84"/>
                <a:gd name="T37" fmla="*/ 13 h 137"/>
                <a:gd name="T38" fmla="*/ 84 w 84"/>
                <a:gd name="T39" fmla="*/ 0 h 137"/>
                <a:gd name="T40" fmla="*/ 84 w 84"/>
                <a:gd name="T41" fmla="*/ 135 h 137"/>
                <a:gd name="T42" fmla="*/ 58 w 84"/>
                <a:gd name="T43" fmla="*/ 135 h 137"/>
                <a:gd name="T44" fmla="*/ 58 w 84"/>
                <a:gd name="T45" fmla="*/ 68 h 137"/>
                <a:gd name="T46" fmla="*/ 55 w 84"/>
                <a:gd name="T47" fmla="*/ 65 h 137"/>
                <a:gd name="T48" fmla="*/ 52 w 84"/>
                <a:gd name="T49" fmla="*/ 62 h 137"/>
                <a:gd name="T50" fmla="*/ 47 w 84"/>
                <a:gd name="T51" fmla="*/ 61 h 137"/>
                <a:gd name="T52" fmla="*/ 41 w 84"/>
                <a:gd name="T53" fmla="*/ 60 h 137"/>
                <a:gd name="T54" fmla="*/ 30 w 84"/>
                <a:gd name="T55" fmla="*/ 66 h 137"/>
                <a:gd name="T56" fmla="*/ 26 w 84"/>
                <a:gd name="T57" fmla="*/ 85 h 137"/>
                <a:gd name="T58" fmla="*/ 27 w 84"/>
                <a:gd name="T59" fmla="*/ 98 h 137"/>
                <a:gd name="T60" fmla="*/ 31 w 84"/>
                <a:gd name="T61" fmla="*/ 106 h 137"/>
                <a:gd name="T62" fmla="*/ 36 w 84"/>
                <a:gd name="T63" fmla="*/ 111 h 137"/>
                <a:gd name="T64" fmla="*/ 43 w 84"/>
                <a:gd name="T65" fmla="*/ 113 h 137"/>
                <a:gd name="T66" fmla="*/ 48 w 84"/>
                <a:gd name="T67" fmla="*/ 112 h 137"/>
                <a:gd name="T68" fmla="*/ 52 w 84"/>
                <a:gd name="T69" fmla="*/ 111 h 137"/>
                <a:gd name="T70" fmla="*/ 56 w 84"/>
                <a:gd name="T71" fmla="*/ 108 h 137"/>
                <a:gd name="T72" fmla="*/ 58 w 84"/>
                <a:gd name="T73" fmla="*/ 105 h 137"/>
                <a:gd name="T74" fmla="*/ 58 w 84"/>
                <a:gd name="T75" fmla="*/ 68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4" h="137">
                  <a:moveTo>
                    <a:pt x="58" y="135"/>
                  </a:moveTo>
                  <a:cubicBezTo>
                    <a:pt x="58" y="129"/>
                    <a:pt x="58" y="129"/>
                    <a:pt x="58" y="129"/>
                  </a:cubicBezTo>
                  <a:cubicBezTo>
                    <a:pt x="57" y="130"/>
                    <a:pt x="56" y="131"/>
                    <a:pt x="55" y="132"/>
                  </a:cubicBezTo>
                  <a:cubicBezTo>
                    <a:pt x="53" y="133"/>
                    <a:pt x="52" y="134"/>
                    <a:pt x="50" y="135"/>
                  </a:cubicBezTo>
                  <a:cubicBezTo>
                    <a:pt x="48" y="136"/>
                    <a:pt x="47" y="136"/>
                    <a:pt x="45" y="137"/>
                  </a:cubicBezTo>
                  <a:cubicBezTo>
                    <a:pt x="43" y="137"/>
                    <a:pt x="40" y="137"/>
                    <a:pt x="38" y="137"/>
                  </a:cubicBezTo>
                  <a:cubicBezTo>
                    <a:pt x="33" y="137"/>
                    <a:pt x="28" y="136"/>
                    <a:pt x="23" y="134"/>
                  </a:cubicBezTo>
                  <a:cubicBezTo>
                    <a:pt x="19" y="132"/>
                    <a:pt x="15" y="129"/>
                    <a:pt x="11" y="125"/>
                  </a:cubicBezTo>
                  <a:cubicBezTo>
                    <a:pt x="8" y="121"/>
                    <a:pt x="5" y="115"/>
                    <a:pt x="3" y="109"/>
                  </a:cubicBezTo>
                  <a:cubicBezTo>
                    <a:pt x="1" y="102"/>
                    <a:pt x="0" y="94"/>
                    <a:pt x="0" y="85"/>
                  </a:cubicBezTo>
                  <a:cubicBezTo>
                    <a:pt x="0" y="78"/>
                    <a:pt x="1" y="71"/>
                    <a:pt x="3" y="65"/>
                  </a:cubicBezTo>
                  <a:cubicBezTo>
                    <a:pt x="4" y="59"/>
                    <a:pt x="7" y="54"/>
                    <a:pt x="10" y="50"/>
                  </a:cubicBezTo>
                  <a:cubicBezTo>
                    <a:pt x="13" y="45"/>
                    <a:pt x="17" y="42"/>
                    <a:pt x="22" y="40"/>
                  </a:cubicBezTo>
                  <a:cubicBezTo>
                    <a:pt x="27" y="37"/>
                    <a:pt x="32" y="36"/>
                    <a:pt x="38" y="36"/>
                  </a:cubicBezTo>
                  <a:cubicBezTo>
                    <a:pt x="40" y="36"/>
                    <a:pt x="42" y="36"/>
                    <a:pt x="44" y="36"/>
                  </a:cubicBezTo>
                  <a:cubicBezTo>
                    <a:pt x="46" y="37"/>
                    <a:pt x="48" y="37"/>
                    <a:pt x="50" y="38"/>
                  </a:cubicBezTo>
                  <a:cubicBezTo>
                    <a:pt x="52" y="39"/>
                    <a:pt x="53" y="40"/>
                    <a:pt x="55" y="41"/>
                  </a:cubicBezTo>
                  <a:cubicBezTo>
                    <a:pt x="56" y="42"/>
                    <a:pt x="57" y="42"/>
                    <a:pt x="58" y="44"/>
                  </a:cubicBezTo>
                  <a:cubicBezTo>
                    <a:pt x="58" y="13"/>
                    <a:pt x="58" y="13"/>
                    <a:pt x="58" y="13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135"/>
                    <a:pt x="84" y="135"/>
                    <a:pt x="84" y="135"/>
                  </a:cubicBezTo>
                  <a:lnTo>
                    <a:pt x="58" y="135"/>
                  </a:lnTo>
                  <a:close/>
                  <a:moveTo>
                    <a:pt x="58" y="68"/>
                  </a:moveTo>
                  <a:cubicBezTo>
                    <a:pt x="57" y="67"/>
                    <a:pt x="56" y="66"/>
                    <a:pt x="55" y="65"/>
                  </a:cubicBezTo>
                  <a:cubicBezTo>
                    <a:pt x="54" y="64"/>
                    <a:pt x="53" y="63"/>
                    <a:pt x="52" y="62"/>
                  </a:cubicBezTo>
                  <a:cubicBezTo>
                    <a:pt x="50" y="62"/>
                    <a:pt x="49" y="61"/>
                    <a:pt x="47" y="61"/>
                  </a:cubicBezTo>
                  <a:cubicBezTo>
                    <a:pt x="45" y="60"/>
                    <a:pt x="43" y="60"/>
                    <a:pt x="41" y="60"/>
                  </a:cubicBezTo>
                  <a:cubicBezTo>
                    <a:pt x="36" y="60"/>
                    <a:pt x="33" y="62"/>
                    <a:pt x="30" y="66"/>
                  </a:cubicBezTo>
                  <a:cubicBezTo>
                    <a:pt x="27" y="70"/>
                    <a:pt x="26" y="77"/>
                    <a:pt x="26" y="85"/>
                  </a:cubicBezTo>
                  <a:cubicBezTo>
                    <a:pt x="26" y="90"/>
                    <a:pt x="27" y="94"/>
                    <a:pt x="27" y="98"/>
                  </a:cubicBezTo>
                  <a:cubicBezTo>
                    <a:pt x="28" y="101"/>
                    <a:pt x="29" y="104"/>
                    <a:pt x="31" y="106"/>
                  </a:cubicBezTo>
                  <a:cubicBezTo>
                    <a:pt x="32" y="109"/>
                    <a:pt x="34" y="110"/>
                    <a:pt x="36" y="111"/>
                  </a:cubicBezTo>
                  <a:cubicBezTo>
                    <a:pt x="38" y="113"/>
                    <a:pt x="40" y="113"/>
                    <a:pt x="43" y="113"/>
                  </a:cubicBezTo>
                  <a:cubicBezTo>
                    <a:pt x="45" y="113"/>
                    <a:pt x="46" y="113"/>
                    <a:pt x="48" y="112"/>
                  </a:cubicBezTo>
                  <a:cubicBezTo>
                    <a:pt x="50" y="112"/>
                    <a:pt x="51" y="112"/>
                    <a:pt x="52" y="111"/>
                  </a:cubicBezTo>
                  <a:cubicBezTo>
                    <a:pt x="53" y="110"/>
                    <a:pt x="55" y="109"/>
                    <a:pt x="56" y="108"/>
                  </a:cubicBezTo>
                  <a:cubicBezTo>
                    <a:pt x="57" y="107"/>
                    <a:pt x="58" y="106"/>
                    <a:pt x="58" y="105"/>
                  </a:cubicBezTo>
                  <a:lnTo>
                    <a:pt x="58" y="6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01" name="Freeform 18">
              <a:extLst>
                <a:ext uri="{FF2B5EF4-FFF2-40B4-BE49-F238E27FC236}">
                  <a16:creationId xmlns:a16="http://schemas.microsoft.com/office/drawing/2014/main" id="{DACB136F-C6ED-433D-9631-749BCDC77B78}"/>
                </a:ext>
              </a:extLst>
            </p:cNvPr>
            <p:cNvSpPr>
              <a:spLocks noEditPoints="1"/>
            </p:cNvSpPr>
            <p:nvPr/>
          </p:nvSpPr>
          <p:spPr bwMode="white">
            <a:xfrm>
              <a:off x="9731769" y="1406980"/>
              <a:ext cx="19613" cy="91524"/>
            </a:xfrm>
            <a:custGeom>
              <a:avLst/>
              <a:gdLst>
                <a:gd name="T0" fmla="*/ 29 w 29"/>
                <a:gd name="T1" fmla="*/ 14 h 134"/>
                <a:gd name="T2" fmla="*/ 28 w 29"/>
                <a:gd name="T3" fmla="*/ 20 h 134"/>
                <a:gd name="T4" fmla="*/ 25 w 29"/>
                <a:gd name="T5" fmla="*/ 25 h 134"/>
                <a:gd name="T6" fmla="*/ 20 w 29"/>
                <a:gd name="T7" fmla="*/ 28 h 134"/>
                <a:gd name="T8" fmla="*/ 15 w 29"/>
                <a:gd name="T9" fmla="*/ 29 h 134"/>
                <a:gd name="T10" fmla="*/ 9 w 29"/>
                <a:gd name="T11" fmla="*/ 28 h 134"/>
                <a:gd name="T12" fmla="*/ 5 w 29"/>
                <a:gd name="T13" fmla="*/ 25 h 134"/>
                <a:gd name="T14" fmla="*/ 1 w 29"/>
                <a:gd name="T15" fmla="*/ 20 h 134"/>
                <a:gd name="T16" fmla="*/ 0 w 29"/>
                <a:gd name="T17" fmla="*/ 14 h 134"/>
                <a:gd name="T18" fmla="*/ 1 w 29"/>
                <a:gd name="T19" fmla="*/ 9 h 134"/>
                <a:gd name="T20" fmla="*/ 5 w 29"/>
                <a:gd name="T21" fmla="*/ 4 h 134"/>
                <a:gd name="T22" fmla="*/ 9 w 29"/>
                <a:gd name="T23" fmla="*/ 1 h 134"/>
                <a:gd name="T24" fmla="*/ 15 w 29"/>
                <a:gd name="T25" fmla="*/ 0 h 134"/>
                <a:gd name="T26" fmla="*/ 20 w 29"/>
                <a:gd name="T27" fmla="*/ 1 h 134"/>
                <a:gd name="T28" fmla="*/ 25 w 29"/>
                <a:gd name="T29" fmla="*/ 4 h 134"/>
                <a:gd name="T30" fmla="*/ 28 w 29"/>
                <a:gd name="T31" fmla="*/ 9 h 134"/>
                <a:gd name="T32" fmla="*/ 29 w 29"/>
                <a:gd name="T33" fmla="*/ 14 h 134"/>
                <a:gd name="T34" fmla="*/ 2 w 29"/>
                <a:gd name="T35" fmla="*/ 134 h 134"/>
                <a:gd name="T36" fmla="*/ 2 w 29"/>
                <a:gd name="T37" fmla="*/ 37 h 134"/>
                <a:gd name="T38" fmla="*/ 28 w 29"/>
                <a:gd name="T39" fmla="*/ 37 h 134"/>
                <a:gd name="T40" fmla="*/ 28 w 29"/>
                <a:gd name="T41" fmla="*/ 134 h 134"/>
                <a:gd name="T42" fmla="*/ 2 w 29"/>
                <a:gd name="T43" fmla="*/ 134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9" h="134">
                  <a:moveTo>
                    <a:pt x="29" y="14"/>
                  </a:moveTo>
                  <a:cubicBezTo>
                    <a:pt x="29" y="16"/>
                    <a:pt x="29" y="18"/>
                    <a:pt x="28" y="20"/>
                  </a:cubicBezTo>
                  <a:cubicBezTo>
                    <a:pt x="28" y="22"/>
                    <a:pt x="26" y="23"/>
                    <a:pt x="25" y="25"/>
                  </a:cubicBezTo>
                  <a:cubicBezTo>
                    <a:pt x="24" y="26"/>
                    <a:pt x="22" y="27"/>
                    <a:pt x="20" y="28"/>
                  </a:cubicBezTo>
                  <a:cubicBezTo>
                    <a:pt x="19" y="29"/>
                    <a:pt x="17" y="29"/>
                    <a:pt x="15" y="29"/>
                  </a:cubicBezTo>
                  <a:cubicBezTo>
                    <a:pt x="13" y="29"/>
                    <a:pt x="11" y="29"/>
                    <a:pt x="9" y="28"/>
                  </a:cubicBezTo>
                  <a:cubicBezTo>
                    <a:pt x="7" y="27"/>
                    <a:pt x="6" y="26"/>
                    <a:pt x="5" y="25"/>
                  </a:cubicBezTo>
                  <a:cubicBezTo>
                    <a:pt x="3" y="23"/>
                    <a:pt x="2" y="22"/>
                    <a:pt x="1" y="20"/>
                  </a:cubicBezTo>
                  <a:cubicBezTo>
                    <a:pt x="1" y="18"/>
                    <a:pt x="0" y="16"/>
                    <a:pt x="0" y="14"/>
                  </a:cubicBezTo>
                  <a:cubicBezTo>
                    <a:pt x="0" y="12"/>
                    <a:pt x="1" y="11"/>
                    <a:pt x="1" y="9"/>
                  </a:cubicBezTo>
                  <a:cubicBezTo>
                    <a:pt x="2" y="7"/>
                    <a:pt x="3" y="5"/>
                    <a:pt x="5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2" y="2"/>
                    <a:pt x="24" y="3"/>
                    <a:pt x="25" y="4"/>
                  </a:cubicBezTo>
                  <a:cubicBezTo>
                    <a:pt x="26" y="5"/>
                    <a:pt x="28" y="7"/>
                    <a:pt x="28" y="9"/>
                  </a:cubicBezTo>
                  <a:cubicBezTo>
                    <a:pt x="29" y="11"/>
                    <a:pt x="29" y="12"/>
                    <a:pt x="29" y="14"/>
                  </a:cubicBezTo>
                  <a:close/>
                  <a:moveTo>
                    <a:pt x="2" y="134"/>
                  </a:moveTo>
                  <a:cubicBezTo>
                    <a:pt x="2" y="37"/>
                    <a:pt x="2" y="37"/>
                    <a:pt x="2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134"/>
                    <a:pt x="28" y="134"/>
                    <a:pt x="28" y="134"/>
                  </a:cubicBezTo>
                  <a:lnTo>
                    <a:pt x="2" y="1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02" name="Freeform 19">
              <a:extLst>
                <a:ext uri="{FF2B5EF4-FFF2-40B4-BE49-F238E27FC236}">
                  <a16:creationId xmlns:a16="http://schemas.microsoft.com/office/drawing/2014/main" id="{922FADCD-4917-47C7-ADDB-1574B3C49CA8}"/>
                </a:ext>
              </a:extLst>
            </p:cNvPr>
            <p:cNvSpPr>
              <a:spLocks/>
            </p:cNvSpPr>
            <p:nvPr/>
          </p:nvSpPr>
          <p:spPr bwMode="white">
            <a:xfrm>
              <a:off x="9767071" y="1430515"/>
              <a:ext cx="58837" cy="67989"/>
            </a:xfrm>
            <a:custGeom>
              <a:avLst/>
              <a:gdLst>
                <a:gd name="T0" fmla="*/ 59 w 85"/>
                <a:gd name="T1" fmla="*/ 99 h 99"/>
                <a:gd name="T2" fmla="*/ 59 w 85"/>
                <a:gd name="T3" fmla="*/ 47 h 99"/>
                <a:gd name="T4" fmla="*/ 55 w 85"/>
                <a:gd name="T5" fmla="*/ 30 h 99"/>
                <a:gd name="T6" fmla="*/ 43 w 85"/>
                <a:gd name="T7" fmla="*/ 24 h 99"/>
                <a:gd name="T8" fmla="*/ 35 w 85"/>
                <a:gd name="T9" fmla="*/ 25 h 99"/>
                <a:gd name="T10" fmla="*/ 30 w 85"/>
                <a:gd name="T11" fmla="*/ 29 h 99"/>
                <a:gd name="T12" fmla="*/ 27 w 85"/>
                <a:gd name="T13" fmla="*/ 35 h 99"/>
                <a:gd name="T14" fmla="*/ 26 w 85"/>
                <a:gd name="T15" fmla="*/ 46 h 99"/>
                <a:gd name="T16" fmla="*/ 26 w 85"/>
                <a:gd name="T17" fmla="*/ 99 h 99"/>
                <a:gd name="T18" fmla="*/ 0 w 85"/>
                <a:gd name="T19" fmla="*/ 99 h 99"/>
                <a:gd name="T20" fmla="*/ 0 w 85"/>
                <a:gd name="T21" fmla="*/ 2 h 99"/>
                <a:gd name="T22" fmla="*/ 26 w 85"/>
                <a:gd name="T23" fmla="*/ 2 h 99"/>
                <a:gd name="T24" fmla="*/ 26 w 85"/>
                <a:gd name="T25" fmla="*/ 8 h 99"/>
                <a:gd name="T26" fmla="*/ 30 w 85"/>
                <a:gd name="T27" fmla="*/ 5 h 99"/>
                <a:gd name="T28" fmla="*/ 35 w 85"/>
                <a:gd name="T29" fmla="*/ 2 h 99"/>
                <a:gd name="T30" fmla="*/ 42 w 85"/>
                <a:gd name="T31" fmla="*/ 1 h 99"/>
                <a:gd name="T32" fmla="*/ 49 w 85"/>
                <a:gd name="T33" fmla="*/ 0 h 99"/>
                <a:gd name="T34" fmla="*/ 65 w 85"/>
                <a:gd name="T35" fmla="*/ 3 h 99"/>
                <a:gd name="T36" fmla="*/ 76 w 85"/>
                <a:gd name="T37" fmla="*/ 12 h 99"/>
                <a:gd name="T38" fmla="*/ 82 w 85"/>
                <a:gd name="T39" fmla="*/ 26 h 99"/>
                <a:gd name="T40" fmla="*/ 85 w 85"/>
                <a:gd name="T41" fmla="*/ 44 h 99"/>
                <a:gd name="T42" fmla="*/ 85 w 85"/>
                <a:gd name="T43" fmla="*/ 99 h 99"/>
                <a:gd name="T44" fmla="*/ 59 w 85"/>
                <a:gd name="T45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5" h="99">
                  <a:moveTo>
                    <a:pt x="59" y="99"/>
                  </a:moveTo>
                  <a:cubicBezTo>
                    <a:pt x="59" y="47"/>
                    <a:pt x="59" y="47"/>
                    <a:pt x="59" y="47"/>
                  </a:cubicBezTo>
                  <a:cubicBezTo>
                    <a:pt x="59" y="39"/>
                    <a:pt x="58" y="33"/>
                    <a:pt x="55" y="30"/>
                  </a:cubicBezTo>
                  <a:cubicBezTo>
                    <a:pt x="53" y="26"/>
                    <a:pt x="49" y="24"/>
                    <a:pt x="43" y="24"/>
                  </a:cubicBezTo>
                  <a:cubicBezTo>
                    <a:pt x="40" y="24"/>
                    <a:pt x="38" y="24"/>
                    <a:pt x="35" y="25"/>
                  </a:cubicBezTo>
                  <a:cubicBezTo>
                    <a:pt x="33" y="26"/>
                    <a:pt x="32" y="27"/>
                    <a:pt x="30" y="29"/>
                  </a:cubicBezTo>
                  <a:cubicBezTo>
                    <a:pt x="29" y="30"/>
                    <a:pt x="28" y="33"/>
                    <a:pt x="27" y="35"/>
                  </a:cubicBezTo>
                  <a:cubicBezTo>
                    <a:pt x="26" y="38"/>
                    <a:pt x="26" y="42"/>
                    <a:pt x="26" y="46"/>
                  </a:cubicBezTo>
                  <a:cubicBezTo>
                    <a:pt x="26" y="99"/>
                    <a:pt x="26" y="99"/>
                    <a:pt x="26" y="99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7" y="7"/>
                    <a:pt x="28" y="6"/>
                    <a:pt x="30" y="5"/>
                  </a:cubicBezTo>
                  <a:cubicBezTo>
                    <a:pt x="31" y="4"/>
                    <a:pt x="33" y="3"/>
                    <a:pt x="35" y="2"/>
                  </a:cubicBezTo>
                  <a:cubicBezTo>
                    <a:pt x="37" y="2"/>
                    <a:pt x="39" y="1"/>
                    <a:pt x="42" y="1"/>
                  </a:cubicBezTo>
                  <a:cubicBezTo>
                    <a:pt x="44" y="0"/>
                    <a:pt x="46" y="0"/>
                    <a:pt x="49" y="0"/>
                  </a:cubicBezTo>
                  <a:cubicBezTo>
                    <a:pt x="55" y="0"/>
                    <a:pt x="60" y="1"/>
                    <a:pt x="65" y="3"/>
                  </a:cubicBezTo>
                  <a:cubicBezTo>
                    <a:pt x="69" y="5"/>
                    <a:pt x="73" y="8"/>
                    <a:pt x="76" y="12"/>
                  </a:cubicBezTo>
                  <a:cubicBezTo>
                    <a:pt x="79" y="16"/>
                    <a:pt x="81" y="20"/>
                    <a:pt x="82" y="26"/>
                  </a:cubicBezTo>
                  <a:cubicBezTo>
                    <a:pt x="84" y="31"/>
                    <a:pt x="85" y="38"/>
                    <a:pt x="85" y="44"/>
                  </a:cubicBezTo>
                  <a:cubicBezTo>
                    <a:pt x="85" y="99"/>
                    <a:pt x="85" y="99"/>
                    <a:pt x="85" y="99"/>
                  </a:cubicBezTo>
                  <a:lnTo>
                    <a:pt x="59" y="9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03" name="Freeform 20">
              <a:extLst>
                <a:ext uri="{FF2B5EF4-FFF2-40B4-BE49-F238E27FC236}">
                  <a16:creationId xmlns:a16="http://schemas.microsoft.com/office/drawing/2014/main" id="{EEA96631-7CCE-49D6-A700-D76FF986E47F}"/>
                </a:ext>
              </a:extLst>
            </p:cNvPr>
            <p:cNvSpPr>
              <a:spLocks noEditPoints="1"/>
            </p:cNvSpPr>
            <p:nvPr/>
          </p:nvSpPr>
          <p:spPr bwMode="white">
            <a:xfrm>
              <a:off x="9880823" y="1410902"/>
              <a:ext cx="71912" cy="87602"/>
            </a:xfrm>
            <a:custGeom>
              <a:avLst/>
              <a:gdLst>
                <a:gd name="T0" fmla="*/ 105 w 105"/>
                <a:gd name="T1" fmla="*/ 64 h 129"/>
                <a:gd name="T2" fmla="*/ 103 w 105"/>
                <a:gd name="T3" fmla="*/ 85 h 129"/>
                <a:gd name="T4" fmla="*/ 96 w 105"/>
                <a:gd name="T5" fmla="*/ 101 h 129"/>
                <a:gd name="T6" fmla="*/ 85 w 105"/>
                <a:gd name="T7" fmla="*/ 114 h 129"/>
                <a:gd name="T8" fmla="*/ 71 w 105"/>
                <a:gd name="T9" fmla="*/ 122 h 129"/>
                <a:gd name="T10" fmla="*/ 55 w 105"/>
                <a:gd name="T11" fmla="*/ 128 h 129"/>
                <a:gd name="T12" fmla="*/ 39 w 105"/>
                <a:gd name="T13" fmla="*/ 129 h 129"/>
                <a:gd name="T14" fmla="*/ 0 w 105"/>
                <a:gd name="T15" fmla="*/ 129 h 129"/>
                <a:gd name="T16" fmla="*/ 0 w 105"/>
                <a:gd name="T17" fmla="*/ 0 h 129"/>
                <a:gd name="T18" fmla="*/ 41 w 105"/>
                <a:gd name="T19" fmla="*/ 0 h 129"/>
                <a:gd name="T20" fmla="*/ 67 w 105"/>
                <a:gd name="T21" fmla="*/ 3 h 129"/>
                <a:gd name="T22" fmla="*/ 87 w 105"/>
                <a:gd name="T23" fmla="*/ 14 h 129"/>
                <a:gd name="T24" fmla="*/ 100 w 105"/>
                <a:gd name="T25" fmla="*/ 34 h 129"/>
                <a:gd name="T26" fmla="*/ 105 w 105"/>
                <a:gd name="T27" fmla="*/ 64 h 129"/>
                <a:gd name="T28" fmla="*/ 79 w 105"/>
                <a:gd name="T29" fmla="*/ 64 h 129"/>
                <a:gd name="T30" fmla="*/ 76 w 105"/>
                <a:gd name="T31" fmla="*/ 47 h 129"/>
                <a:gd name="T32" fmla="*/ 70 w 105"/>
                <a:gd name="T33" fmla="*/ 35 h 129"/>
                <a:gd name="T34" fmla="*/ 58 w 105"/>
                <a:gd name="T35" fmla="*/ 27 h 129"/>
                <a:gd name="T36" fmla="*/ 40 w 105"/>
                <a:gd name="T37" fmla="*/ 25 h 129"/>
                <a:gd name="T38" fmla="*/ 26 w 105"/>
                <a:gd name="T39" fmla="*/ 25 h 129"/>
                <a:gd name="T40" fmla="*/ 26 w 105"/>
                <a:gd name="T41" fmla="*/ 104 h 129"/>
                <a:gd name="T42" fmla="*/ 39 w 105"/>
                <a:gd name="T43" fmla="*/ 104 h 129"/>
                <a:gd name="T44" fmla="*/ 57 w 105"/>
                <a:gd name="T45" fmla="*/ 101 h 129"/>
                <a:gd name="T46" fmla="*/ 69 w 105"/>
                <a:gd name="T47" fmla="*/ 93 h 129"/>
                <a:gd name="T48" fmla="*/ 76 w 105"/>
                <a:gd name="T49" fmla="*/ 81 h 129"/>
                <a:gd name="T50" fmla="*/ 79 w 105"/>
                <a:gd name="T51" fmla="*/ 64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5" h="129">
                  <a:moveTo>
                    <a:pt x="105" y="64"/>
                  </a:moveTo>
                  <a:cubicBezTo>
                    <a:pt x="105" y="72"/>
                    <a:pt x="104" y="79"/>
                    <a:pt x="103" y="85"/>
                  </a:cubicBezTo>
                  <a:cubicBezTo>
                    <a:pt x="101" y="91"/>
                    <a:pt x="99" y="97"/>
                    <a:pt x="96" y="101"/>
                  </a:cubicBezTo>
                  <a:cubicBezTo>
                    <a:pt x="92" y="106"/>
                    <a:pt x="89" y="110"/>
                    <a:pt x="85" y="114"/>
                  </a:cubicBezTo>
                  <a:cubicBezTo>
                    <a:pt x="80" y="117"/>
                    <a:pt x="76" y="120"/>
                    <a:pt x="71" y="122"/>
                  </a:cubicBezTo>
                  <a:cubicBezTo>
                    <a:pt x="66" y="125"/>
                    <a:pt x="61" y="126"/>
                    <a:pt x="55" y="128"/>
                  </a:cubicBezTo>
                  <a:cubicBezTo>
                    <a:pt x="50" y="129"/>
                    <a:pt x="44" y="129"/>
                    <a:pt x="39" y="129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50" y="0"/>
                    <a:pt x="59" y="1"/>
                    <a:pt x="67" y="3"/>
                  </a:cubicBezTo>
                  <a:cubicBezTo>
                    <a:pt x="74" y="5"/>
                    <a:pt x="81" y="9"/>
                    <a:pt x="87" y="14"/>
                  </a:cubicBezTo>
                  <a:cubicBezTo>
                    <a:pt x="93" y="19"/>
                    <a:pt x="97" y="26"/>
                    <a:pt x="100" y="34"/>
                  </a:cubicBezTo>
                  <a:cubicBezTo>
                    <a:pt x="104" y="43"/>
                    <a:pt x="105" y="53"/>
                    <a:pt x="105" y="64"/>
                  </a:cubicBezTo>
                  <a:close/>
                  <a:moveTo>
                    <a:pt x="79" y="64"/>
                  </a:moveTo>
                  <a:cubicBezTo>
                    <a:pt x="79" y="58"/>
                    <a:pt x="78" y="52"/>
                    <a:pt x="76" y="47"/>
                  </a:cubicBezTo>
                  <a:cubicBezTo>
                    <a:pt x="75" y="42"/>
                    <a:pt x="73" y="38"/>
                    <a:pt x="70" y="35"/>
                  </a:cubicBezTo>
                  <a:cubicBezTo>
                    <a:pt x="66" y="31"/>
                    <a:pt x="62" y="29"/>
                    <a:pt x="58" y="27"/>
                  </a:cubicBezTo>
                  <a:cubicBezTo>
                    <a:pt x="53" y="26"/>
                    <a:pt x="47" y="25"/>
                    <a:pt x="40" y="25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6" y="104"/>
                    <a:pt x="26" y="104"/>
                    <a:pt x="26" y="104"/>
                  </a:cubicBezTo>
                  <a:cubicBezTo>
                    <a:pt x="39" y="104"/>
                    <a:pt x="39" y="104"/>
                    <a:pt x="39" y="104"/>
                  </a:cubicBezTo>
                  <a:cubicBezTo>
                    <a:pt x="46" y="104"/>
                    <a:pt x="52" y="103"/>
                    <a:pt x="57" y="101"/>
                  </a:cubicBezTo>
                  <a:cubicBezTo>
                    <a:pt x="62" y="99"/>
                    <a:pt x="66" y="97"/>
                    <a:pt x="69" y="93"/>
                  </a:cubicBezTo>
                  <a:cubicBezTo>
                    <a:pt x="72" y="90"/>
                    <a:pt x="75" y="85"/>
                    <a:pt x="76" y="81"/>
                  </a:cubicBezTo>
                  <a:cubicBezTo>
                    <a:pt x="78" y="76"/>
                    <a:pt x="79" y="70"/>
                    <a:pt x="79" y="6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04" name="Freeform 21">
              <a:extLst>
                <a:ext uri="{FF2B5EF4-FFF2-40B4-BE49-F238E27FC236}">
                  <a16:creationId xmlns:a16="http://schemas.microsoft.com/office/drawing/2014/main" id="{4BB24B6E-8D3D-449A-850B-52F8A8EF40A7}"/>
                </a:ext>
              </a:extLst>
            </p:cNvPr>
            <p:cNvSpPr>
              <a:spLocks noEditPoints="1"/>
            </p:cNvSpPr>
            <p:nvPr/>
          </p:nvSpPr>
          <p:spPr bwMode="white">
            <a:xfrm>
              <a:off x="9964502" y="1430515"/>
              <a:ext cx="56222" cy="69297"/>
            </a:xfrm>
            <a:custGeom>
              <a:avLst/>
              <a:gdLst>
                <a:gd name="T0" fmla="*/ 84 w 84"/>
                <a:gd name="T1" fmla="*/ 51 h 101"/>
                <a:gd name="T2" fmla="*/ 84 w 84"/>
                <a:gd name="T3" fmla="*/ 55 h 101"/>
                <a:gd name="T4" fmla="*/ 84 w 84"/>
                <a:gd name="T5" fmla="*/ 59 h 101"/>
                <a:gd name="T6" fmla="*/ 26 w 84"/>
                <a:gd name="T7" fmla="*/ 59 h 101"/>
                <a:gd name="T8" fmla="*/ 28 w 84"/>
                <a:gd name="T9" fmla="*/ 67 h 101"/>
                <a:gd name="T10" fmla="*/ 32 w 84"/>
                <a:gd name="T11" fmla="*/ 73 h 101"/>
                <a:gd name="T12" fmla="*/ 39 w 84"/>
                <a:gd name="T13" fmla="*/ 76 h 101"/>
                <a:gd name="T14" fmla="*/ 46 w 84"/>
                <a:gd name="T15" fmla="*/ 77 h 101"/>
                <a:gd name="T16" fmla="*/ 50 w 84"/>
                <a:gd name="T17" fmla="*/ 77 h 101"/>
                <a:gd name="T18" fmla="*/ 55 w 84"/>
                <a:gd name="T19" fmla="*/ 75 h 101"/>
                <a:gd name="T20" fmla="*/ 59 w 84"/>
                <a:gd name="T21" fmla="*/ 73 h 101"/>
                <a:gd name="T22" fmla="*/ 62 w 84"/>
                <a:gd name="T23" fmla="*/ 70 h 101"/>
                <a:gd name="T24" fmla="*/ 80 w 84"/>
                <a:gd name="T25" fmla="*/ 85 h 101"/>
                <a:gd name="T26" fmla="*/ 74 w 84"/>
                <a:gd name="T27" fmla="*/ 92 h 101"/>
                <a:gd name="T28" fmla="*/ 65 w 84"/>
                <a:gd name="T29" fmla="*/ 97 h 101"/>
                <a:gd name="T30" fmla="*/ 55 w 84"/>
                <a:gd name="T31" fmla="*/ 100 h 101"/>
                <a:gd name="T32" fmla="*/ 46 w 84"/>
                <a:gd name="T33" fmla="*/ 101 h 101"/>
                <a:gd name="T34" fmla="*/ 31 w 84"/>
                <a:gd name="T35" fmla="*/ 99 h 101"/>
                <a:gd name="T36" fmla="*/ 20 w 84"/>
                <a:gd name="T37" fmla="*/ 94 h 101"/>
                <a:gd name="T38" fmla="*/ 12 w 84"/>
                <a:gd name="T39" fmla="*/ 87 h 101"/>
                <a:gd name="T40" fmla="*/ 5 w 84"/>
                <a:gd name="T41" fmla="*/ 77 h 101"/>
                <a:gd name="T42" fmla="*/ 1 w 84"/>
                <a:gd name="T43" fmla="*/ 65 h 101"/>
                <a:gd name="T44" fmla="*/ 0 w 84"/>
                <a:gd name="T45" fmla="*/ 51 h 101"/>
                <a:gd name="T46" fmla="*/ 3 w 84"/>
                <a:gd name="T47" fmla="*/ 30 h 101"/>
                <a:gd name="T48" fmla="*/ 12 w 84"/>
                <a:gd name="T49" fmla="*/ 14 h 101"/>
                <a:gd name="T50" fmla="*/ 26 w 84"/>
                <a:gd name="T51" fmla="*/ 4 h 101"/>
                <a:gd name="T52" fmla="*/ 43 w 84"/>
                <a:gd name="T53" fmla="*/ 0 h 101"/>
                <a:gd name="T54" fmla="*/ 61 w 84"/>
                <a:gd name="T55" fmla="*/ 4 h 101"/>
                <a:gd name="T56" fmla="*/ 73 w 84"/>
                <a:gd name="T57" fmla="*/ 15 h 101"/>
                <a:gd name="T58" fmla="*/ 81 w 84"/>
                <a:gd name="T59" fmla="*/ 31 h 101"/>
                <a:gd name="T60" fmla="*/ 84 w 84"/>
                <a:gd name="T61" fmla="*/ 51 h 101"/>
                <a:gd name="T62" fmla="*/ 59 w 84"/>
                <a:gd name="T63" fmla="*/ 40 h 101"/>
                <a:gd name="T64" fmla="*/ 58 w 84"/>
                <a:gd name="T65" fmla="*/ 33 h 101"/>
                <a:gd name="T66" fmla="*/ 55 w 84"/>
                <a:gd name="T67" fmla="*/ 28 h 101"/>
                <a:gd name="T68" fmla="*/ 49 w 84"/>
                <a:gd name="T69" fmla="*/ 24 h 101"/>
                <a:gd name="T70" fmla="*/ 42 w 84"/>
                <a:gd name="T71" fmla="*/ 22 h 101"/>
                <a:gd name="T72" fmla="*/ 36 w 84"/>
                <a:gd name="T73" fmla="*/ 24 h 101"/>
                <a:gd name="T74" fmla="*/ 31 w 84"/>
                <a:gd name="T75" fmla="*/ 27 h 101"/>
                <a:gd name="T76" fmla="*/ 28 w 84"/>
                <a:gd name="T77" fmla="*/ 33 h 101"/>
                <a:gd name="T78" fmla="*/ 26 w 84"/>
                <a:gd name="T79" fmla="*/ 40 h 101"/>
                <a:gd name="T80" fmla="*/ 59 w 84"/>
                <a:gd name="T81" fmla="*/ 4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4" h="101">
                  <a:moveTo>
                    <a:pt x="84" y="51"/>
                  </a:moveTo>
                  <a:cubicBezTo>
                    <a:pt x="84" y="52"/>
                    <a:pt x="84" y="54"/>
                    <a:pt x="84" y="55"/>
                  </a:cubicBezTo>
                  <a:cubicBezTo>
                    <a:pt x="84" y="57"/>
                    <a:pt x="84" y="58"/>
                    <a:pt x="84" y="59"/>
                  </a:cubicBezTo>
                  <a:cubicBezTo>
                    <a:pt x="26" y="59"/>
                    <a:pt x="26" y="59"/>
                    <a:pt x="26" y="59"/>
                  </a:cubicBezTo>
                  <a:cubicBezTo>
                    <a:pt x="26" y="62"/>
                    <a:pt x="27" y="65"/>
                    <a:pt x="28" y="67"/>
                  </a:cubicBezTo>
                  <a:cubicBezTo>
                    <a:pt x="29" y="70"/>
                    <a:pt x="31" y="71"/>
                    <a:pt x="32" y="73"/>
                  </a:cubicBezTo>
                  <a:cubicBezTo>
                    <a:pt x="34" y="74"/>
                    <a:pt x="36" y="75"/>
                    <a:pt x="39" y="76"/>
                  </a:cubicBezTo>
                  <a:cubicBezTo>
                    <a:pt x="41" y="77"/>
                    <a:pt x="43" y="77"/>
                    <a:pt x="46" y="77"/>
                  </a:cubicBezTo>
                  <a:cubicBezTo>
                    <a:pt x="47" y="77"/>
                    <a:pt x="49" y="77"/>
                    <a:pt x="50" y="77"/>
                  </a:cubicBezTo>
                  <a:cubicBezTo>
                    <a:pt x="52" y="76"/>
                    <a:pt x="54" y="76"/>
                    <a:pt x="55" y="75"/>
                  </a:cubicBezTo>
                  <a:cubicBezTo>
                    <a:pt x="57" y="75"/>
                    <a:pt x="58" y="74"/>
                    <a:pt x="59" y="73"/>
                  </a:cubicBezTo>
                  <a:cubicBezTo>
                    <a:pt x="60" y="72"/>
                    <a:pt x="61" y="71"/>
                    <a:pt x="62" y="70"/>
                  </a:cubicBezTo>
                  <a:cubicBezTo>
                    <a:pt x="80" y="85"/>
                    <a:pt x="80" y="85"/>
                    <a:pt x="80" y="85"/>
                  </a:cubicBezTo>
                  <a:cubicBezTo>
                    <a:pt x="78" y="88"/>
                    <a:pt x="76" y="90"/>
                    <a:pt x="74" y="92"/>
                  </a:cubicBezTo>
                  <a:cubicBezTo>
                    <a:pt x="71" y="94"/>
                    <a:pt x="68" y="96"/>
                    <a:pt x="65" y="97"/>
                  </a:cubicBezTo>
                  <a:cubicBezTo>
                    <a:pt x="62" y="98"/>
                    <a:pt x="59" y="99"/>
                    <a:pt x="55" y="100"/>
                  </a:cubicBezTo>
                  <a:cubicBezTo>
                    <a:pt x="52" y="101"/>
                    <a:pt x="49" y="101"/>
                    <a:pt x="46" y="101"/>
                  </a:cubicBezTo>
                  <a:cubicBezTo>
                    <a:pt x="40" y="101"/>
                    <a:pt x="35" y="101"/>
                    <a:pt x="31" y="99"/>
                  </a:cubicBezTo>
                  <a:cubicBezTo>
                    <a:pt x="27" y="98"/>
                    <a:pt x="23" y="96"/>
                    <a:pt x="20" y="94"/>
                  </a:cubicBezTo>
                  <a:cubicBezTo>
                    <a:pt x="17" y="92"/>
                    <a:pt x="14" y="89"/>
                    <a:pt x="12" y="87"/>
                  </a:cubicBezTo>
                  <a:cubicBezTo>
                    <a:pt x="9" y="84"/>
                    <a:pt x="7" y="80"/>
                    <a:pt x="5" y="77"/>
                  </a:cubicBezTo>
                  <a:cubicBezTo>
                    <a:pt x="4" y="73"/>
                    <a:pt x="2" y="69"/>
                    <a:pt x="1" y="65"/>
                  </a:cubicBezTo>
                  <a:cubicBezTo>
                    <a:pt x="0" y="61"/>
                    <a:pt x="0" y="56"/>
                    <a:pt x="0" y="51"/>
                  </a:cubicBezTo>
                  <a:cubicBezTo>
                    <a:pt x="0" y="43"/>
                    <a:pt x="1" y="36"/>
                    <a:pt x="3" y="30"/>
                  </a:cubicBezTo>
                  <a:cubicBezTo>
                    <a:pt x="5" y="24"/>
                    <a:pt x="8" y="19"/>
                    <a:pt x="12" y="14"/>
                  </a:cubicBezTo>
                  <a:cubicBezTo>
                    <a:pt x="16" y="10"/>
                    <a:pt x="21" y="6"/>
                    <a:pt x="26" y="4"/>
                  </a:cubicBezTo>
                  <a:cubicBezTo>
                    <a:pt x="31" y="1"/>
                    <a:pt x="37" y="0"/>
                    <a:pt x="43" y="0"/>
                  </a:cubicBezTo>
                  <a:cubicBezTo>
                    <a:pt x="50" y="0"/>
                    <a:pt x="55" y="1"/>
                    <a:pt x="61" y="4"/>
                  </a:cubicBezTo>
                  <a:cubicBezTo>
                    <a:pt x="66" y="7"/>
                    <a:pt x="70" y="10"/>
                    <a:pt x="73" y="15"/>
                  </a:cubicBezTo>
                  <a:cubicBezTo>
                    <a:pt x="77" y="19"/>
                    <a:pt x="79" y="25"/>
                    <a:pt x="81" y="31"/>
                  </a:cubicBezTo>
                  <a:cubicBezTo>
                    <a:pt x="83" y="37"/>
                    <a:pt x="84" y="44"/>
                    <a:pt x="84" y="51"/>
                  </a:cubicBezTo>
                  <a:close/>
                  <a:moveTo>
                    <a:pt x="59" y="40"/>
                  </a:moveTo>
                  <a:cubicBezTo>
                    <a:pt x="59" y="37"/>
                    <a:pt x="59" y="35"/>
                    <a:pt x="58" y="33"/>
                  </a:cubicBezTo>
                  <a:cubicBezTo>
                    <a:pt x="57" y="31"/>
                    <a:pt x="56" y="29"/>
                    <a:pt x="55" y="28"/>
                  </a:cubicBezTo>
                  <a:cubicBezTo>
                    <a:pt x="53" y="26"/>
                    <a:pt x="51" y="25"/>
                    <a:pt x="49" y="24"/>
                  </a:cubicBezTo>
                  <a:cubicBezTo>
                    <a:pt x="47" y="23"/>
                    <a:pt x="45" y="22"/>
                    <a:pt x="42" y="22"/>
                  </a:cubicBezTo>
                  <a:cubicBezTo>
                    <a:pt x="40" y="22"/>
                    <a:pt x="37" y="23"/>
                    <a:pt x="36" y="24"/>
                  </a:cubicBezTo>
                  <a:cubicBezTo>
                    <a:pt x="34" y="24"/>
                    <a:pt x="32" y="26"/>
                    <a:pt x="31" y="27"/>
                  </a:cubicBezTo>
                  <a:cubicBezTo>
                    <a:pt x="29" y="29"/>
                    <a:pt x="28" y="31"/>
                    <a:pt x="28" y="33"/>
                  </a:cubicBezTo>
                  <a:cubicBezTo>
                    <a:pt x="27" y="35"/>
                    <a:pt x="26" y="37"/>
                    <a:pt x="26" y="40"/>
                  </a:cubicBezTo>
                  <a:lnTo>
                    <a:pt x="59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05" name="Freeform 22">
              <a:extLst>
                <a:ext uri="{FF2B5EF4-FFF2-40B4-BE49-F238E27FC236}">
                  <a16:creationId xmlns:a16="http://schemas.microsoft.com/office/drawing/2014/main" id="{767CA49F-CF78-4517-9D40-459A6165DB66}"/>
                </a:ext>
              </a:extLst>
            </p:cNvPr>
            <p:cNvSpPr>
              <a:spLocks/>
            </p:cNvSpPr>
            <p:nvPr/>
          </p:nvSpPr>
          <p:spPr bwMode="white">
            <a:xfrm>
              <a:off x="10035106" y="1431822"/>
              <a:ext cx="57529" cy="67989"/>
            </a:xfrm>
            <a:custGeom>
              <a:avLst/>
              <a:gdLst>
                <a:gd name="T0" fmla="*/ 58 w 84"/>
                <a:gd name="T1" fmla="*/ 97 h 99"/>
                <a:gd name="T2" fmla="*/ 58 w 84"/>
                <a:gd name="T3" fmla="*/ 91 h 99"/>
                <a:gd name="T4" fmla="*/ 49 w 84"/>
                <a:gd name="T5" fmla="*/ 97 h 99"/>
                <a:gd name="T6" fmla="*/ 35 w 84"/>
                <a:gd name="T7" fmla="*/ 99 h 99"/>
                <a:gd name="T8" fmla="*/ 9 w 84"/>
                <a:gd name="T9" fmla="*/ 88 h 99"/>
                <a:gd name="T10" fmla="*/ 0 w 84"/>
                <a:gd name="T11" fmla="*/ 55 h 99"/>
                <a:gd name="T12" fmla="*/ 0 w 84"/>
                <a:gd name="T13" fmla="*/ 0 h 99"/>
                <a:gd name="T14" fmla="*/ 25 w 84"/>
                <a:gd name="T15" fmla="*/ 0 h 99"/>
                <a:gd name="T16" fmla="*/ 25 w 84"/>
                <a:gd name="T17" fmla="*/ 52 h 99"/>
                <a:gd name="T18" fmla="*/ 29 w 84"/>
                <a:gd name="T19" fmla="*/ 70 h 99"/>
                <a:gd name="T20" fmla="*/ 42 w 84"/>
                <a:gd name="T21" fmla="*/ 75 h 99"/>
                <a:gd name="T22" fmla="*/ 54 w 84"/>
                <a:gd name="T23" fmla="*/ 70 h 99"/>
                <a:gd name="T24" fmla="*/ 58 w 84"/>
                <a:gd name="T25" fmla="*/ 53 h 99"/>
                <a:gd name="T26" fmla="*/ 58 w 84"/>
                <a:gd name="T27" fmla="*/ 0 h 99"/>
                <a:gd name="T28" fmla="*/ 84 w 84"/>
                <a:gd name="T29" fmla="*/ 0 h 99"/>
                <a:gd name="T30" fmla="*/ 84 w 84"/>
                <a:gd name="T31" fmla="*/ 97 h 99"/>
                <a:gd name="T32" fmla="*/ 58 w 84"/>
                <a:gd name="T33" fmla="*/ 97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4" h="99">
                  <a:moveTo>
                    <a:pt x="58" y="97"/>
                  </a:moveTo>
                  <a:cubicBezTo>
                    <a:pt x="58" y="91"/>
                    <a:pt x="58" y="91"/>
                    <a:pt x="58" y="91"/>
                  </a:cubicBezTo>
                  <a:cubicBezTo>
                    <a:pt x="56" y="93"/>
                    <a:pt x="53" y="95"/>
                    <a:pt x="49" y="97"/>
                  </a:cubicBezTo>
                  <a:cubicBezTo>
                    <a:pt x="45" y="98"/>
                    <a:pt x="41" y="99"/>
                    <a:pt x="35" y="99"/>
                  </a:cubicBezTo>
                  <a:cubicBezTo>
                    <a:pt x="24" y="99"/>
                    <a:pt x="15" y="95"/>
                    <a:pt x="9" y="88"/>
                  </a:cubicBezTo>
                  <a:cubicBezTo>
                    <a:pt x="3" y="80"/>
                    <a:pt x="0" y="69"/>
                    <a:pt x="0" y="5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52"/>
                    <a:pt x="25" y="52"/>
                    <a:pt x="25" y="52"/>
                  </a:cubicBezTo>
                  <a:cubicBezTo>
                    <a:pt x="25" y="60"/>
                    <a:pt x="26" y="66"/>
                    <a:pt x="29" y="70"/>
                  </a:cubicBezTo>
                  <a:cubicBezTo>
                    <a:pt x="31" y="73"/>
                    <a:pt x="36" y="75"/>
                    <a:pt x="42" y="75"/>
                  </a:cubicBezTo>
                  <a:cubicBezTo>
                    <a:pt x="48" y="75"/>
                    <a:pt x="52" y="73"/>
                    <a:pt x="54" y="70"/>
                  </a:cubicBezTo>
                  <a:cubicBezTo>
                    <a:pt x="57" y="66"/>
                    <a:pt x="58" y="60"/>
                    <a:pt x="58" y="53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97"/>
                    <a:pt x="84" y="97"/>
                    <a:pt x="84" y="97"/>
                  </a:cubicBezTo>
                  <a:lnTo>
                    <a:pt x="58" y="9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06" name="Freeform 23">
              <a:extLst>
                <a:ext uri="{FF2B5EF4-FFF2-40B4-BE49-F238E27FC236}">
                  <a16:creationId xmlns:a16="http://schemas.microsoft.com/office/drawing/2014/main" id="{BCE97B83-65DD-49DB-AC39-56BB28ACA966}"/>
                </a:ext>
              </a:extLst>
            </p:cNvPr>
            <p:cNvSpPr>
              <a:spLocks/>
            </p:cNvSpPr>
            <p:nvPr/>
          </p:nvSpPr>
          <p:spPr bwMode="white">
            <a:xfrm>
              <a:off x="10104403" y="1406980"/>
              <a:ext cx="43148" cy="92832"/>
            </a:xfrm>
            <a:custGeom>
              <a:avLst/>
              <a:gdLst>
                <a:gd name="T0" fmla="*/ 62 w 65"/>
                <a:gd name="T1" fmla="*/ 131 h 137"/>
                <a:gd name="T2" fmla="*/ 53 w 65"/>
                <a:gd name="T3" fmla="*/ 135 h 137"/>
                <a:gd name="T4" fmla="*/ 42 w 65"/>
                <a:gd name="T5" fmla="*/ 137 h 137"/>
                <a:gd name="T6" fmla="*/ 31 w 65"/>
                <a:gd name="T7" fmla="*/ 135 h 137"/>
                <a:gd name="T8" fmla="*/ 23 w 65"/>
                <a:gd name="T9" fmla="*/ 129 h 137"/>
                <a:gd name="T10" fmla="*/ 18 w 65"/>
                <a:gd name="T11" fmla="*/ 120 h 137"/>
                <a:gd name="T12" fmla="*/ 16 w 65"/>
                <a:gd name="T13" fmla="*/ 108 h 137"/>
                <a:gd name="T14" fmla="*/ 16 w 65"/>
                <a:gd name="T15" fmla="*/ 62 h 137"/>
                <a:gd name="T16" fmla="*/ 0 w 65"/>
                <a:gd name="T17" fmla="*/ 62 h 137"/>
                <a:gd name="T18" fmla="*/ 0 w 65"/>
                <a:gd name="T19" fmla="*/ 38 h 137"/>
                <a:gd name="T20" fmla="*/ 16 w 65"/>
                <a:gd name="T21" fmla="*/ 38 h 137"/>
                <a:gd name="T22" fmla="*/ 16 w 65"/>
                <a:gd name="T23" fmla="*/ 13 h 137"/>
                <a:gd name="T24" fmla="*/ 42 w 65"/>
                <a:gd name="T25" fmla="*/ 0 h 137"/>
                <a:gd name="T26" fmla="*/ 42 w 65"/>
                <a:gd name="T27" fmla="*/ 38 h 137"/>
                <a:gd name="T28" fmla="*/ 65 w 65"/>
                <a:gd name="T29" fmla="*/ 38 h 137"/>
                <a:gd name="T30" fmla="*/ 65 w 65"/>
                <a:gd name="T31" fmla="*/ 62 h 137"/>
                <a:gd name="T32" fmla="*/ 42 w 65"/>
                <a:gd name="T33" fmla="*/ 62 h 137"/>
                <a:gd name="T34" fmla="*/ 42 w 65"/>
                <a:gd name="T35" fmla="*/ 101 h 137"/>
                <a:gd name="T36" fmla="*/ 42 w 65"/>
                <a:gd name="T37" fmla="*/ 107 h 137"/>
                <a:gd name="T38" fmla="*/ 44 w 65"/>
                <a:gd name="T39" fmla="*/ 110 h 137"/>
                <a:gd name="T40" fmla="*/ 47 w 65"/>
                <a:gd name="T41" fmla="*/ 112 h 137"/>
                <a:gd name="T42" fmla="*/ 51 w 65"/>
                <a:gd name="T43" fmla="*/ 113 h 137"/>
                <a:gd name="T44" fmla="*/ 58 w 65"/>
                <a:gd name="T45" fmla="*/ 111 h 137"/>
                <a:gd name="T46" fmla="*/ 65 w 65"/>
                <a:gd name="T47" fmla="*/ 105 h 137"/>
                <a:gd name="T48" fmla="*/ 62 w 65"/>
                <a:gd name="T49" fmla="*/ 131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5" h="137">
                  <a:moveTo>
                    <a:pt x="62" y="131"/>
                  </a:moveTo>
                  <a:cubicBezTo>
                    <a:pt x="60" y="133"/>
                    <a:pt x="57" y="134"/>
                    <a:pt x="53" y="135"/>
                  </a:cubicBezTo>
                  <a:cubicBezTo>
                    <a:pt x="50" y="137"/>
                    <a:pt x="46" y="137"/>
                    <a:pt x="42" y="137"/>
                  </a:cubicBezTo>
                  <a:cubicBezTo>
                    <a:pt x="38" y="137"/>
                    <a:pt x="34" y="136"/>
                    <a:pt x="31" y="135"/>
                  </a:cubicBezTo>
                  <a:cubicBezTo>
                    <a:pt x="28" y="134"/>
                    <a:pt x="25" y="132"/>
                    <a:pt x="23" y="129"/>
                  </a:cubicBezTo>
                  <a:cubicBezTo>
                    <a:pt x="21" y="126"/>
                    <a:pt x="19" y="123"/>
                    <a:pt x="18" y="120"/>
                  </a:cubicBezTo>
                  <a:cubicBezTo>
                    <a:pt x="17" y="116"/>
                    <a:pt x="16" y="112"/>
                    <a:pt x="16" y="108"/>
                  </a:cubicBezTo>
                  <a:cubicBezTo>
                    <a:pt x="16" y="62"/>
                    <a:pt x="16" y="62"/>
                    <a:pt x="16" y="62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38"/>
                    <a:pt x="42" y="38"/>
                    <a:pt x="42" y="38"/>
                  </a:cubicBezTo>
                  <a:cubicBezTo>
                    <a:pt x="65" y="38"/>
                    <a:pt x="65" y="38"/>
                    <a:pt x="65" y="38"/>
                  </a:cubicBezTo>
                  <a:cubicBezTo>
                    <a:pt x="65" y="62"/>
                    <a:pt x="65" y="62"/>
                    <a:pt x="65" y="62"/>
                  </a:cubicBezTo>
                  <a:cubicBezTo>
                    <a:pt x="42" y="62"/>
                    <a:pt x="42" y="62"/>
                    <a:pt x="42" y="62"/>
                  </a:cubicBezTo>
                  <a:cubicBezTo>
                    <a:pt x="42" y="101"/>
                    <a:pt x="42" y="101"/>
                    <a:pt x="42" y="101"/>
                  </a:cubicBezTo>
                  <a:cubicBezTo>
                    <a:pt x="42" y="103"/>
                    <a:pt x="42" y="105"/>
                    <a:pt x="42" y="107"/>
                  </a:cubicBezTo>
                  <a:cubicBezTo>
                    <a:pt x="43" y="108"/>
                    <a:pt x="43" y="110"/>
                    <a:pt x="44" y="110"/>
                  </a:cubicBezTo>
                  <a:cubicBezTo>
                    <a:pt x="45" y="111"/>
                    <a:pt x="46" y="112"/>
                    <a:pt x="47" y="112"/>
                  </a:cubicBezTo>
                  <a:cubicBezTo>
                    <a:pt x="48" y="113"/>
                    <a:pt x="49" y="113"/>
                    <a:pt x="51" y="113"/>
                  </a:cubicBezTo>
                  <a:cubicBezTo>
                    <a:pt x="53" y="113"/>
                    <a:pt x="55" y="112"/>
                    <a:pt x="58" y="111"/>
                  </a:cubicBezTo>
                  <a:cubicBezTo>
                    <a:pt x="60" y="110"/>
                    <a:pt x="62" y="108"/>
                    <a:pt x="65" y="105"/>
                  </a:cubicBezTo>
                  <a:lnTo>
                    <a:pt x="62" y="13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07" name="Freeform 24">
              <a:extLst>
                <a:ext uri="{FF2B5EF4-FFF2-40B4-BE49-F238E27FC236}">
                  <a16:creationId xmlns:a16="http://schemas.microsoft.com/office/drawing/2014/main" id="{3A70ECD6-5CB1-4ABC-BD20-5CD3C4FFDF5E}"/>
                </a:ext>
              </a:extLst>
            </p:cNvPr>
            <p:cNvSpPr>
              <a:spLocks/>
            </p:cNvSpPr>
            <p:nvPr/>
          </p:nvSpPr>
          <p:spPr bwMode="white">
            <a:xfrm>
              <a:off x="10160625" y="1430515"/>
              <a:ext cx="56222" cy="69297"/>
            </a:xfrm>
            <a:custGeom>
              <a:avLst/>
              <a:gdLst>
                <a:gd name="T0" fmla="*/ 78 w 81"/>
                <a:gd name="T1" fmla="*/ 9 h 101"/>
                <a:gd name="T2" fmla="*/ 70 w 81"/>
                <a:gd name="T3" fmla="*/ 30 h 101"/>
                <a:gd name="T4" fmla="*/ 55 w 81"/>
                <a:gd name="T5" fmla="*/ 24 h 101"/>
                <a:gd name="T6" fmla="*/ 41 w 81"/>
                <a:gd name="T7" fmla="*/ 22 h 101"/>
                <a:gd name="T8" fmla="*/ 31 w 81"/>
                <a:gd name="T9" fmla="*/ 23 h 101"/>
                <a:gd name="T10" fmla="*/ 28 w 81"/>
                <a:gd name="T11" fmla="*/ 28 h 101"/>
                <a:gd name="T12" fmla="*/ 29 w 81"/>
                <a:gd name="T13" fmla="*/ 31 h 101"/>
                <a:gd name="T14" fmla="*/ 32 w 81"/>
                <a:gd name="T15" fmla="*/ 33 h 101"/>
                <a:gd name="T16" fmla="*/ 38 w 81"/>
                <a:gd name="T17" fmla="*/ 36 h 101"/>
                <a:gd name="T18" fmla="*/ 48 w 81"/>
                <a:gd name="T19" fmla="*/ 39 h 101"/>
                <a:gd name="T20" fmla="*/ 61 w 81"/>
                <a:gd name="T21" fmla="*/ 44 h 101"/>
                <a:gd name="T22" fmla="*/ 71 w 81"/>
                <a:gd name="T23" fmla="*/ 50 h 101"/>
                <a:gd name="T24" fmla="*/ 78 w 81"/>
                <a:gd name="T25" fmla="*/ 59 h 101"/>
                <a:gd name="T26" fmla="*/ 81 w 81"/>
                <a:gd name="T27" fmla="*/ 71 h 101"/>
                <a:gd name="T28" fmla="*/ 78 w 81"/>
                <a:gd name="T29" fmla="*/ 85 h 101"/>
                <a:gd name="T30" fmla="*/ 69 w 81"/>
                <a:gd name="T31" fmla="*/ 94 h 101"/>
                <a:gd name="T32" fmla="*/ 57 w 81"/>
                <a:gd name="T33" fmla="*/ 100 h 101"/>
                <a:gd name="T34" fmla="*/ 41 w 81"/>
                <a:gd name="T35" fmla="*/ 101 h 101"/>
                <a:gd name="T36" fmla="*/ 19 w 81"/>
                <a:gd name="T37" fmla="*/ 98 h 101"/>
                <a:gd name="T38" fmla="*/ 0 w 81"/>
                <a:gd name="T39" fmla="*/ 90 h 101"/>
                <a:gd name="T40" fmla="*/ 9 w 81"/>
                <a:gd name="T41" fmla="*/ 70 h 101"/>
                <a:gd name="T42" fmla="*/ 25 w 81"/>
                <a:gd name="T43" fmla="*/ 77 h 101"/>
                <a:gd name="T44" fmla="*/ 43 w 81"/>
                <a:gd name="T45" fmla="*/ 79 h 101"/>
                <a:gd name="T46" fmla="*/ 53 w 81"/>
                <a:gd name="T47" fmla="*/ 78 h 101"/>
                <a:gd name="T48" fmla="*/ 56 w 81"/>
                <a:gd name="T49" fmla="*/ 72 h 101"/>
                <a:gd name="T50" fmla="*/ 55 w 81"/>
                <a:gd name="T51" fmla="*/ 69 h 101"/>
                <a:gd name="T52" fmla="*/ 53 w 81"/>
                <a:gd name="T53" fmla="*/ 67 h 101"/>
                <a:gd name="T54" fmla="*/ 48 w 81"/>
                <a:gd name="T55" fmla="*/ 64 h 101"/>
                <a:gd name="T56" fmla="*/ 41 w 81"/>
                <a:gd name="T57" fmla="*/ 62 h 101"/>
                <a:gd name="T58" fmla="*/ 26 w 81"/>
                <a:gd name="T59" fmla="*/ 57 h 101"/>
                <a:gd name="T60" fmla="*/ 13 w 81"/>
                <a:gd name="T61" fmla="*/ 51 h 101"/>
                <a:gd name="T62" fmla="*/ 6 w 81"/>
                <a:gd name="T63" fmla="*/ 42 h 101"/>
                <a:gd name="T64" fmla="*/ 3 w 81"/>
                <a:gd name="T65" fmla="*/ 29 h 101"/>
                <a:gd name="T66" fmla="*/ 6 w 81"/>
                <a:gd name="T67" fmla="*/ 16 h 101"/>
                <a:gd name="T68" fmla="*/ 14 w 81"/>
                <a:gd name="T69" fmla="*/ 7 h 101"/>
                <a:gd name="T70" fmla="*/ 26 w 81"/>
                <a:gd name="T71" fmla="*/ 2 h 101"/>
                <a:gd name="T72" fmla="*/ 42 w 81"/>
                <a:gd name="T73" fmla="*/ 0 h 101"/>
                <a:gd name="T74" fmla="*/ 61 w 81"/>
                <a:gd name="T75" fmla="*/ 3 h 101"/>
                <a:gd name="T76" fmla="*/ 78 w 81"/>
                <a:gd name="T77" fmla="*/ 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81" h="101">
                  <a:moveTo>
                    <a:pt x="78" y="9"/>
                  </a:moveTo>
                  <a:cubicBezTo>
                    <a:pt x="70" y="30"/>
                    <a:pt x="70" y="30"/>
                    <a:pt x="70" y="30"/>
                  </a:cubicBezTo>
                  <a:cubicBezTo>
                    <a:pt x="65" y="27"/>
                    <a:pt x="60" y="25"/>
                    <a:pt x="55" y="24"/>
                  </a:cubicBezTo>
                  <a:cubicBezTo>
                    <a:pt x="50" y="22"/>
                    <a:pt x="45" y="22"/>
                    <a:pt x="41" y="22"/>
                  </a:cubicBezTo>
                  <a:cubicBezTo>
                    <a:pt x="37" y="22"/>
                    <a:pt x="34" y="22"/>
                    <a:pt x="31" y="23"/>
                  </a:cubicBezTo>
                  <a:cubicBezTo>
                    <a:pt x="29" y="24"/>
                    <a:pt x="28" y="26"/>
                    <a:pt x="28" y="28"/>
                  </a:cubicBezTo>
                  <a:cubicBezTo>
                    <a:pt x="28" y="29"/>
                    <a:pt x="29" y="30"/>
                    <a:pt x="29" y="31"/>
                  </a:cubicBezTo>
                  <a:cubicBezTo>
                    <a:pt x="29" y="32"/>
                    <a:pt x="30" y="32"/>
                    <a:pt x="32" y="33"/>
                  </a:cubicBezTo>
                  <a:cubicBezTo>
                    <a:pt x="33" y="34"/>
                    <a:pt x="35" y="35"/>
                    <a:pt x="38" y="36"/>
                  </a:cubicBezTo>
                  <a:cubicBezTo>
                    <a:pt x="41" y="37"/>
                    <a:pt x="44" y="38"/>
                    <a:pt x="48" y="39"/>
                  </a:cubicBezTo>
                  <a:cubicBezTo>
                    <a:pt x="53" y="41"/>
                    <a:pt x="57" y="42"/>
                    <a:pt x="61" y="44"/>
                  </a:cubicBezTo>
                  <a:cubicBezTo>
                    <a:pt x="65" y="46"/>
                    <a:pt x="68" y="48"/>
                    <a:pt x="71" y="50"/>
                  </a:cubicBezTo>
                  <a:cubicBezTo>
                    <a:pt x="74" y="52"/>
                    <a:pt x="76" y="55"/>
                    <a:pt x="78" y="59"/>
                  </a:cubicBezTo>
                  <a:cubicBezTo>
                    <a:pt x="80" y="62"/>
                    <a:pt x="81" y="66"/>
                    <a:pt x="81" y="71"/>
                  </a:cubicBezTo>
                  <a:cubicBezTo>
                    <a:pt x="81" y="76"/>
                    <a:pt x="80" y="81"/>
                    <a:pt x="78" y="85"/>
                  </a:cubicBezTo>
                  <a:cubicBezTo>
                    <a:pt x="76" y="89"/>
                    <a:pt x="73" y="92"/>
                    <a:pt x="69" y="94"/>
                  </a:cubicBezTo>
                  <a:cubicBezTo>
                    <a:pt x="66" y="97"/>
                    <a:pt x="61" y="98"/>
                    <a:pt x="57" y="100"/>
                  </a:cubicBezTo>
                  <a:cubicBezTo>
                    <a:pt x="52" y="101"/>
                    <a:pt x="47" y="101"/>
                    <a:pt x="41" y="101"/>
                  </a:cubicBezTo>
                  <a:cubicBezTo>
                    <a:pt x="34" y="101"/>
                    <a:pt x="26" y="100"/>
                    <a:pt x="19" y="98"/>
                  </a:cubicBezTo>
                  <a:cubicBezTo>
                    <a:pt x="12" y="96"/>
                    <a:pt x="6" y="93"/>
                    <a:pt x="0" y="90"/>
                  </a:cubicBezTo>
                  <a:cubicBezTo>
                    <a:pt x="9" y="70"/>
                    <a:pt x="9" y="70"/>
                    <a:pt x="9" y="70"/>
                  </a:cubicBezTo>
                  <a:cubicBezTo>
                    <a:pt x="14" y="73"/>
                    <a:pt x="20" y="76"/>
                    <a:pt x="25" y="77"/>
                  </a:cubicBezTo>
                  <a:cubicBezTo>
                    <a:pt x="31" y="79"/>
                    <a:pt x="36" y="79"/>
                    <a:pt x="43" y="79"/>
                  </a:cubicBezTo>
                  <a:cubicBezTo>
                    <a:pt x="47" y="79"/>
                    <a:pt x="51" y="79"/>
                    <a:pt x="53" y="78"/>
                  </a:cubicBezTo>
                  <a:cubicBezTo>
                    <a:pt x="55" y="76"/>
                    <a:pt x="56" y="75"/>
                    <a:pt x="56" y="72"/>
                  </a:cubicBezTo>
                  <a:cubicBezTo>
                    <a:pt x="56" y="71"/>
                    <a:pt x="55" y="70"/>
                    <a:pt x="55" y="69"/>
                  </a:cubicBezTo>
                  <a:cubicBezTo>
                    <a:pt x="54" y="68"/>
                    <a:pt x="54" y="67"/>
                    <a:pt x="53" y="67"/>
                  </a:cubicBezTo>
                  <a:cubicBezTo>
                    <a:pt x="51" y="66"/>
                    <a:pt x="50" y="65"/>
                    <a:pt x="48" y="64"/>
                  </a:cubicBezTo>
                  <a:cubicBezTo>
                    <a:pt x="46" y="64"/>
                    <a:pt x="44" y="63"/>
                    <a:pt x="41" y="62"/>
                  </a:cubicBezTo>
                  <a:cubicBezTo>
                    <a:pt x="36" y="60"/>
                    <a:pt x="30" y="59"/>
                    <a:pt x="26" y="57"/>
                  </a:cubicBezTo>
                  <a:cubicBezTo>
                    <a:pt x="21" y="55"/>
                    <a:pt x="17" y="53"/>
                    <a:pt x="13" y="51"/>
                  </a:cubicBezTo>
                  <a:cubicBezTo>
                    <a:pt x="10" y="48"/>
                    <a:pt x="8" y="45"/>
                    <a:pt x="6" y="42"/>
                  </a:cubicBezTo>
                  <a:cubicBezTo>
                    <a:pt x="4" y="38"/>
                    <a:pt x="3" y="34"/>
                    <a:pt x="3" y="29"/>
                  </a:cubicBezTo>
                  <a:cubicBezTo>
                    <a:pt x="3" y="24"/>
                    <a:pt x="4" y="19"/>
                    <a:pt x="6" y="16"/>
                  </a:cubicBezTo>
                  <a:cubicBezTo>
                    <a:pt x="8" y="12"/>
                    <a:pt x="10" y="9"/>
                    <a:pt x="14" y="7"/>
                  </a:cubicBezTo>
                  <a:cubicBezTo>
                    <a:pt x="17" y="4"/>
                    <a:pt x="21" y="3"/>
                    <a:pt x="26" y="2"/>
                  </a:cubicBezTo>
                  <a:cubicBezTo>
                    <a:pt x="31" y="0"/>
                    <a:pt x="36" y="0"/>
                    <a:pt x="42" y="0"/>
                  </a:cubicBezTo>
                  <a:cubicBezTo>
                    <a:pt x="48" y="0"/>
                    <a:pt x="54" y="1"/>
                    <a:pt x="61" y="3"/>
                  </a:cubicBezTo>
                  <a:cubicBezTo>
                    <a:pt x="67" y="4"/>
                    <a:pt x="73" y="7"/>
                    <a:pt x="78" y="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08" name="Freeform 25">
              <a:extLst>
                <a:ext uri="{FF2B5EF4-FFF2-40B4-BE49-F238E27FC236}">
                  <a16:creationId xmlns:a16="http://schemas.microsoft.com/office/drawing/2014/main" id="{5A85C156-A249-4B2C-8A44-A8D8A3A0EEFE}"/>
                </a:ext>
              </a:extLst>
            </p:cNvPr>
            <p:cNvSpPr>
              <a:spLocks/>
            </p:cNvSpPr>
            <p:nvPr/>
          </p:nvSpPr>
          <p:spPr bwMode="white">
            <a:xfrm>
              <a:off x="10226000" y="1430515"/>
              <a:ext cx="58837" cy="69297"/>
            </a:xfrm>
            <a:custGeom>
              <a:avLst/>
              <a:gdLst>
                <a:gd name="T0" fmla="*/ 85 w 85"/>
                <a:gd name="T1" fmla="*/ 80 h 101"/>
                <a:gd name="T2" fmla="*/ 77 w 85"/>
                <a:gd name="T3" fmla="*/ 88 h 101"/>
                <a:gd name="T4" fmla="*/ 69 w 85"/>
                <a:gd name="T5" fmla="*/ 95 h 101"/>
                <a:gd name="T6" fmla="*/ 58 w 85"/>
                <a:gd name="T7" fmla="*/ 100 h 101"/>
                <a:gd name="T8" fmla="*/ 45 w 85"/>
                <a:gd name="T9" fmla="*/ 101 h 101"/>
                <a:gd name="T10" fmla="*/ 27 w 85"/>
                <a:gd name="T11" fmla="*/ 98 h 101"/>
                <a:gd name="T12" fmla="*/ 13 w 85"/>
                <a:gd name="T13" fmla="*/ 87 h 101"/>
                <a:gd name="T14" fmla="*/ 3 w 85"/>
                <a:gd name="T15" fmla="*/ 71 h 101"/>
                <a:gd name="T16" fmla="*/ 0 w 85"/>
                <a:gd name="T17" fmla="*/ 51 h 101"/>
                <a:gd name="T18" fmla="*/ 3 w 85"/>
                <a:gd name="T19" fmla="*/ 30 h 101"/>
                <a:gd name="T20" fmla="*/ 13 w 85"/>
                <a:gd name="T21" fmla="*/ 14 h 101"/>
                <a:gd name="T22" fmla="*/ 28 w 85"/>
                <a:gd name="T23" fmla="*/ 4 h 101"/>
                <a:gd name="T24" fmla="*/ 46 w 85"/>
                <a:gd name="T25" fmla="*/ 0 h 101"/>
                <a:gd name="T26" fmla="*/ 68 w 85"/>
                <a:gd name="T27" fmla="*/ 5 h 101"/>
                <a:gd name="T28" fmla="*/ 85 w 85"/>
                <a:gd name="T29" fmla="*/ 21 h 101"/>
                <a:gd name="T30" fmla="*/ 68 w 85"/>
                <a:gd name="T31" fmla="*/ 38 h 101"/>
                <a:gd name="T32" fmla="*/ 63 w 85"/>
                <a:gd name="T33" fmla="*/ 33 h 101"/>
                <a:gd name="T34" fmla="*/ 58 w 85"/>
                <a:gd name="T35" fmla="*/ 28 h 101"/>
                <a:gd name="T36" fmla="*/ 53 w 85"/>
                <a:gd name="T37" fmla="*/ 26 h 101"/>
                <a:gd name="T38" fmla="*/ 46 w 85"/>
                <a:gd name="T39" fmla="*/ 25 h 101"/>
                <a:gd name="T40" fmla="*/ 37 w 85"/>
                <a:gd name="T41" fmla="*/ 26 h 101"/>
                <a:gd name="T42" fmla="*/ 31 w 85"/>
                <a:gd name="T43" fmla="*/ 32 h 101"/>
                <a:gd name="T44" fmla="*/ 27 w 85"/>
                <a:gd name="T45" fmla="*/ 40 h 101"/>
                <a:gd name="T46" fmla="*/ 26 w 85"/>
                <a:gd name="T47" fmla="*/ 51 h 101"/>
                <a:gd name="T48" fmla="*/ 27 w 85"/>
                <a:gd name="T49" fmla="*/ 61 h 101"/>
                <a:gd name="T50" fmla="*/ 31 w 85"/>
                <a:gd name="T51" fmla="*/ 69 h 101"/>
                <a:gd name="T52" fmla="*/ 37 w 85"/>
                <a:gd name="T53" fmla="*/ 75 h 101"/>
                <a:gd name="T54" fmla="*/ 46 w 85"/>
                <a:gd name="T55" fmla="*/ 77 h 101"/>
                <a:gd name="T56" fmla="*/ 52 w 85"/>
                <a:gd name="T57" fmla="*/ 76 h 101"/>
                <a:gd name="T58" fmla="*/ 58 w 85"/>
                <a:gd name="T59" fmla="*/ 73 h 101"/>
                <a:gd name="T60" fmla="*/ 64 w 85"/>
                <a:gd name="T61" fmla="*/ 69 h 101"/>
                <a:gd name="T62" fmla="*/ 69 w 85"/>
                <a:gd name="T63" fmla="*/ 64 h 101"/>
                <a:gd name="T64" fmla="*/ 85 w 85"/>
                <a:gd name="T65" fmla="*/ 8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5" h="101">
                  <a:moveTo>
                    <a:pt x="85" y="80"/>
                  </a:moveTo>
                  <a:cubicBezTo>
                    <a:pt x="83" y="83"/>
                    <a:pt x="80" y="86"/>
                    <a:pt x="77" y="88"/>
                  </a:cubicBezTo>
                  <a:cubicBezTo>
                    <a:pt x="75" y="91"/>
                    <a:pt x="72" y="93"/>
                    <a:pt x="69" y="95"/>
                  </a:cubicBezTo>
                  <a:cubicBezTo>
                    <a:pt x="65" y="97"/>
                    <a:pt x="62" y="98"/>
                    <a:pt x="58" y="100"/>
                  </a:cubicBezTo>
                  <a:cubicBezTo>
                    <a:pt x="54" y="101"/>
                    <a:pt x="50" y="101"/>
                    <a:pt x="45" y="101"/>
                  </a:cubicBezTo>
                  <a:cubicBezTo>
                    <a:pt x="39" y="101"/>
                    <a:pt x="33" y="100"/>
                    <a:pt x="27" y="98"/>
                  </a:cubicBezTo>
                  <a:cubicBezTo>
                    <a:pt x="22" y="95"/>
                    <a:pt x="17" y="92"/>
                    <a:pt x="13" y="87"/>
                  </a:cubicBezTo>
                  <a:cubicBezTo>
                    <a:pt x="9" y="83"/>
                    <a:pt x="5" y="77"/>
                    <a:pt x="3" y="71"/>
                  </a:cubicBezTo>
                  <a:cubicBezTo>
                    <a:pt x="1" y="65"/>
                    <a:pt x="0" y="58"/>
                    <a:pt x="0" y="51"/>
                  </a:cubicBezTo>
                  <a:cubicBezTo>
                    <a:pt x="0" y="43"/>
                    <a:pt x="1" y="36"/>
                    <a:pt x="3" y="30"/>
                  </a:cubicBezTo>
                  <a:cubicBezTo>
                    <a:pt x="5" y="24"/>
                    <a:pt x="9" y="19"/>
                    <a:pt x="13" y="14"/>
                  </a:cubicBezTo>
                  <a:cubicBezTo>
                    <a:pt x="17" y="10"/>
                    <a:pt x="22" y="6"/>
                    <a:pt x="28" y="4"/>
                  </a:cubicBezTo>
                  <a:cubicBezTo>
                    <a:pt x="33" y="1"/>
                    <a:pt x="39" y="0"/>
                    <a:pt x="46" y="0"/>
                  </a:cubicBezTo>
                  <a:cubicBezTo>
                    <a:pt x="54" y="0"/>
                    <a:pt x="62" y="2"/>
                    <a:pt x="68" y="5"/>
                  </a:cubicBezTo>
                  <a:cubicBezTo>
                    <a:pt x="74" y="9"/>
                    <a:pt x="80" y="14"/>
                    <a:pt x="85" y="21"/>
                  </a:cubicBezTo>
                  <a:cubicBezTo>
                    <a:pt x="68" y="38"/>
                    <a:pt x="68" y="38"/>
                    <a:pt x="68" y="38"/>
                  </a:cubicBezTo>
                  <a:cubicBezTo>
                    <a:pt x="66" y="36"/>
                    <a:pt x="65" y="35"/>
                    <a:pt x="63" y="33"/>
                  </a:cubicBezTo>
                  <a:cubicBezTo>
                    <a:pt x="62" y="31"/>
                    <a:pt x="60" y="30"/>
                    <a:pt x="58" y="28"/>
                  </a:cubicBezTo>
                  <a:cubicBezTo>
                    <a:pt x="57" y="27"/>
                    <a:pt x="55" y="26"/>
                    <a:pt x="53" y="26"/>
                  </a:cubicBezTo>
                  <a:cubicBezTo>
                    <a:pt x="51" y="25"/>
                    <a:pt x="48" y="25"/>
                    <a:pt x="46" y="25"/>
                  </a:cubicBezTo>
                  <a:cubicBezTo>
                    <a:pt x="43" y="25"/>
                    <a:pt x="40" y="25"/>
                    <a:pt x="37" y="26"/>
                  </a:cubicBezTo>
                  <a:cubicBezTo>
                    <a:pt x="35" y="28"/>
                    <a:pt x="33" y="29"/>
                    <a:pt x="31" y="32"/>
                  </a:cubicBezTo>
                  <a:cubicBezTo>
                    <a:pt x="29" y="34"/>
                    <a:pt x="28" y="37"/>
                    <a:pt x="27" y="40"/>
                  </a:cubicBezTo>
                  <a:cubicBezTo>
                    <a:pt x="26" y="43"/>
                    <a:pt x="26" y="47"/>
                    <a:pt x="26" y="51"/>
                  </a:cubicBezTo>
                  <a:cubicBezTo>
                    <a:pt x="26" y="55"/>
                    <a:pt x="26" y="58"/>
                    <a:pt x="27" y="61"/>
                  </a:cubicBezTo>
                  <a:cubicBezTo>
                    <a:pt x="28" y="64"/>
                    <a:pt x="29" y="67"/>
                    <a:pt x="31" y="69"/>
                  </a:cubicBezTo>
                  <a:cubicBezTo>
                    <a:pt x="33" y="72"/>
                    <a:pt x="35" y="73"/>
                    <a:pt x="37" y="75"/>
                  </a:cubicBezTo>
                  <a:cubicBezTo>
                    <a:pt x="40" y="76"/>
                    <a:pt x="43" y="77"/>
                    <a:pt x="46" y="77"/>
                  </a:cubicBezTo>
                  <a:cubicBezTo>
                    <a:pt x="48" y="77"/>
                    <a:pt x="50" y="76"/>
                    <a:pt x="52" y="76"/>
                  </a:cubicBezTo>
                  <a:cubicBezTo>
                    <a:pt x="55" y="75"/>
                    <a:pt x="57" y="74"/>
                    <a:pt x="58" y="73"/>
                  </a:cubicBezTo>
                  <a:cubicBezTo>
                    <a:pt x="60" y="72"/>
                    <a:pt x="62" y="71"/>
                    <a:pt x="64" y="69"/>
                  </a:cubicBezTo>
                  <a:cubicBezTo>
                    <a:pt x="65" y="68"/>
                    <a:pt x="67" y="66"/>
                    <a:pt x="69" y="64"/>
                  </a:cubicBezTo>
                  <a:lnTo>
                    <a:pt x="85" y="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09" name="Freeform 26">
              <a:extLst>
                <a:ext uri="{FF2B5EF4-FFF2-40B4-BE49-F238E27FC236}">
                  <a16:creationId xmlns:a16="http://schemas.microsoft.com/office/drawing/2014/main" id="{91225174-20DB-4A4F-A5BB-9A114EDC0F3E}"/>
                </a:ext>
              </a:extLst>
            </p:cNvPr>
            <p:cNvSpPr>
              <a:spLocks/>
            </p:cNvSpPr>
            <p:nvPr/>
          </p:nvSpPr>
          <p:spPr bwMode="white">
            <a:xfrm>
              <a:off x="10297911" y="1406980"/>
              <a:ext cx="57529" cy="91524"/>
            </a:xfrm>
            <a:custGeom>
              <a:avLst/>
              <a:gdLst>
                <a:gd name="T0" fmla="*/ 59 w 84"/>
                <a:gd name="T1" fmla="*/ 135 h 135"/>
                <a:gd name="T2" fmla="*/ 59 w 84"/>
                <a:gd name="T3" fmla="*/ 83 h 135"/>
                <a:gd name="T4" fmla="*/ 55 w 84"/>
                <a:gd name="T5" fmla="*/ 66 h 135"/>
                <a:gd name="T6" fmla="*/ 42 w 84"/>
                <a:gd name="T7" fmla="*/ 60 h 135"/>
                <a:gd name="T8" fmla="*/ 35 w 84"/>
                <a:gd name="T9" fmla="*/ 61 h 135"/>
                <a:gd name="T10" fmla="*/ 30 w 84"/>
                <a:gd name="T11" fmla="*/ 65 h 135"/>
                <a:gd name="T12" fmla="*/ 27 w 84"/>
                <a:gd name="T13" fmla="*/ 71 h 135"/>
                <a:gd name="T14" fmla="*/ 25 w 84"/>
                <a:gd name="T15" fmla="*/ 82 h 135"/>
                <a:gd name="T16" fmla="*/ 25 w 84"/>
                <a:gd name="T17" fmla="*/ 135 h 135"/>
                <a:gd name="T18" fmla="*/ 0 w 84"/>
                <a:gd name="T19" fmla="*/ 135 h 135"/>
                <a:gd name="T20" fmla="*/ 0 w 84"/>
                <a:gd name="T21" fmla="*/ 13 h 135"/>
                <a:gd name="T22" fmla="*/ 25 w 84"/>
                <a:gd name="T23" fmla="*/ 0 h 135"/>
                <a:gd name="T24" fmla="*/ 25 w 84"/>
                <a:gd name="T25" fmla="*/ 44 h 135"/>
                <a:gd name="T26" fmla="*/ 29 w 84"/>
                <a:gd name="T27" fmla="*/ 41 h 135"/>
                <a:gd name="T28" fmla="*/ 35 w 84"/>
                <a:gd name="T29" fmla="*/ 38 h 135"/>
                <a:gd name="T30" fmla="*/ 41 w 84"/>
                <a:gd name="T31" fmla="*/ 37 h 135"/>
                <a:gd name="T32" fmla="*/ 48 w 84"/>
                <a:gd name="T33" fmla="*/ 36 h 135"/>
                <a:gd name="T34" fmla="*/ 64 w 84"/>
                <a:gd name="T35" fmla="*/ 39 h 135"/>
                <a:gd name="T36" fmla="*/ 75 w 84"/>
                <a:gd name="T37" fmla="*/ 48 h 135"/>
                <a:gd name="T38" fmla="*/ 82 w 84"/>
                <a:gd name="T39" fmla="*/ 62 h 135"/>
                <a:gd name="T40" fmla="*/ 84 w 84"/>
                <a:gd name="T41" fmla="*/ 80 h 135"/>
                <a:gd name="T42" fmla="*/ 84 w 84"/>
                <a:gd name="T43" fmla="*/ 135 h 135"/>
                <a:gd name="T44" fmla="*/ 59 w 84"/>
                <a:gd name="T45" fmla="*/ 135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4" h="135">
                  <a:moveTo>
                    <a:pt x="59" y="135"/>
                  </a:moveTo>
                  <a:cubicBezTo>
                    <a:pt x="59" y="83"/>
                    <a:pt x="59" y="83"/>
                    <a:pt x="59" y="83"/>
                  </a:cubicBezTo>
                  <a:cubicBezTo>
                    <a:pt x="59" y="75"/>
                    <a:pt x="57" y="69"/>
                    <a:pt x="55" y="66"/>
                  </a:cubicBezTo>
                  <a:cubicBezTo>
                    <a:pt x="52" y="62"/>
                    <a:pt x="48" y="60"/>
                    <a:pt x="42" y="60"/>
                  </a:cubicBezTo>
                  <a:cubicBezTo>
                    <a:pt x="39" y="60"/>
                    <a:pt x="37" y="60"/>
                    <a:pt x="35" y="61"/>
                  </a:cubicBezTo>
                  <a:cubicBezTo>
                    <a:pt x="33" y="62"/>
                    <a:pt x="31" y="63"/>
                    <a:pt x="30" y="65"/>
                  </a:cubicBezTo>
                  <a:cubicBezTo>
                    <a:pt x="28" y="66"/>
                    <a:pt x="27" y="69"/>
                    <a:pt x="27" y="71"/>
                  </a:cubicBezTo>
                  <a:cubicBezTo>
                    <a:pt x="26" y="74"/>
                    <a:pt x="25" y="78"/>
                    <a:pt x="25" y="82"/>
                  </a:cubicBezTo>
                  <a:cubicBezTo>
                    <a:pt x="25" y="135"/>
                    <a:pt x="25" y="135"/>
                    <a:pt x="25" y="135"/>
                  </a:cubicBezTo>
                  <a:cubicBezTo>
                    <a:pt x="0" y="135"/>
                    <a:pt x="0" y="135"/>
                    <a:pt x="0" y="135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44"/>
                    <a:pt x="25" y="44"/>
                    <a:pt x="25" y="44"/>
                  </a:cubicBezTo>
                  <a:cubicBezTo>
                    <a:pt x="27" y="43"/>
                    <a:pt x="28" y="42"/>
                    <a:pt x="29" y="41"/>
                  </a:cubicBezTo>
                  <a:cubicBezTo>
                    <a:pt x="31" y="40"/>
                    <a:pt x="33" y="39"/>
                    <a:pt x="35" y="38"/>
                  </a:cubicBezTo>
                  <a:cubicBezTo>
                    <a:pt x="37" y="38"/>
                    <a:pt x="39" y="37"/>
                    <a:pt x="41" y="37"/>
                  </a:cubicBezTo>
                  <a:cubicBezTo>
                    <a:pt x="43" y="36"/>
                    <a:pt x="46" y="36"/>
                    <a:pt x="48" y="36"/>
                  </a:cubicBezTo>
                  <a:cubicBezTo>
                    <a:pt x="54" y="36"/>
                    <a:pt x="60" y="37"/>
                    <a:pt x="64" y="39"/>
                  </a:cubicBezTo>
                  <a:cubicBezTo>
                    <a:pt x="69" y="41"/>
                    <a:pt x="73" y="44"/>
                    <a:pt x="75" y="48"/>
                  </a:cubicBezTo>
                  <a:cubicBezTo>
                    <a:pt x="78" y="52"/>
                    <a:pt x="81" y="56"/>
                    <a:pt x="82" y="62"/>
                  </a:cubicBezTo>
                  <a:cubicBezTo>
                    <a:pt x="83" y="67"/>
                    <a:pt x="84" y="74"/>
                    <a:pt x="84" y="80"/>
                  </a:cubicBezTo>
                  <a:cubicBezTo>
                    <a:pt x="84" y="135"/>
                    <a:pt x="84" y="135"/>
                    <a:pt x="84" y="135"/>
                  </a:cubicBezTo>
                  <a:lnTo>
                    <a:pt x="59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10" name="Freeform 27">
              <a:extLst>
                <a:ext uri="{FF2B5EF4-FFF2-40B4-BE49-F238E27FC236}">
                  <a16:creationId xmlns:a16="http://schemas.microsoft.com/office/drawing/2014/main" id="{43682DD6-D2ED-4863-B27B-40F3CBE0E381}"/>
                </a:ext>
              </a:extLst>
            </p:cNvPr>
            <p:cNvSpPr>
              <a:spLocks/>
            </p:cNvSpPr>
            <p:nvPr/>
          </p:nvSpPr>
          <p:spPr bwMode="white">
            <a:xfrm>
              <a:off x="10372438" y="1406980"/>
              <a:ext cx="16998" cy="91524"/>
            </a:xfrm>
            <a:custGeom>
              <a:avLst/>
              <a:gdLst>
                <a:gd name="T0" fmla="*/ 0 w 13"/>
                <a:gd name="T1" fmla="*/ 70 h 70"/>
                <a:gd name="T2" fmla="*/ 0 w 13"/>
                <a:gd name="T3" fmla="*/ 6 h 70"/>
                <a:gd name="T4" fmla="*/ 13 w 13"/>
                <a:gd name="T5" fmla="*/ 0 h 70"/>
                <a:gd name="T6" fmla="*/ 13 w 13"/>
                <a:gd name="T7" fmla="*/ 70 h 70"/>
                <a:gd name="T8" fmla="*/ 0 w 13"/>
                <a:gd name="T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70">
                  <a:moveTo>
                    <a:pt x="0" y="70"/>
                  </a:moveTo>
                  <a:lnTo>
                    <a:pt x="0" y="6"/>
                  </a:lnTo>
                  <a:lnTo>
                    <a:pt x="13" y="0"/>
                  </a:lnTo>
                  <a:lnTo>
                    <a:pt x="13" y="70"/>
                  </a:lnTo>
                  <a:lnTo>
                    <a:pt x="0" y="7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11" name="Freeform 28">
              <a:extLst>
                <a:ext uri="{FF2B5EF4-FFF2-40B4-BE49-F238E27FC236}">
                  <a16:creationId xmlns:a16="http://schemas.microsoft.com/office/drawing/2014/main" id="{3D572001-B851-4D74-9AAD-13EE61D916F6}"/>
                </a:ext>
              </a:extLst>
            </p:cNvPr>
            <p:cNvSpPr>
              <a:spLocks noEditPoints="1"/>
            </p:cNvSpPr>
            <p:nvPr/>
          </p:nvSpPr>
          <p:spPr bwMode="white">
            <a:xfrm>
              <a:off x="10403818" y="1430515"/>
              <a:ext cx="57529" cy="69297"/>
            </a:xfrm>
            <a:custGeom>
              <a:avLst/>
              <a:gdLst>
                <a:gd name="T0" fmla="*/ 58 w 83"/>
                <a:gd name="T1" fmla="*/ 99 h 101"/>
                <a:gd name="T2" fmla="*/ 58 w 83"/>
                <a:gd name="T3" fmla="*/ 93 h 101"/>
                <a:gd name="T4" fmla="*/ 54 w 83"/>
                <a:gd name="T5" fmla="*/ 96 h 101"/>
                <a:gd name="T6" fmla="*/ 49 w 83"/>
                <a:gd name="T7" fmla="*/ 99 h 101"/>
                <a:gd name="T8" fmla="*/ 42 w 83"/>
                <a:gd name="T9" fmla="*/ 101 h 101"/>
                <a:gd name="T10" fmla="*/ 36 w 83"/>
                <a:gd name="T11" fmla="*/ 101 h 101"/>
                <a:gd name="T12" fmla="*/ 23 w 83"/>
                <a:gd name="T13" fmla="*/ 99 h 101"/>
                <a:gd name="T14" fmla="*/ 11 w 83"/>
                <a:gd name="T15" fmla="*/ 93 h 101"/>
                <a:gd name="T16" fmla="*/ 3 w 83"/>
                <a:gd name="T17" fmla="*/ 82 h 101"/>
                <a:gd name="T18" fmla="*/ 0 w 83"/>
                <a:gd name="T19" fmla="*/ 67 h 101"/>
                <a:gd name="T20" fmla="*/ 3 w 83"/>
                <a:gd name="T21" fmla="*/ 53 h 101"/>
                <a:gd name="T22" fmla="*/ 11 w 83"/>
                <a:gd name="T23" fmla="*/ 42 h 101"/>
                <a:gd name="T24" fmla="*/ 24 w 83"/>
                <a:gd name="T25" fmla="*/ 36 h 101"/>
                <a:gd name="T26" fmla="*/ 39 w 83"/>
                <a:gd name="T27" fmla="*/ 34 h 101"/>
                <a:gd name="T28" fmla="*/ 50 w 83"/>
                <a:gd name="T29" fmla="*/ 36 h 101"/>
                <a:gd name="T30" fmla="*/ 58 w 83"/>
                <a:gd name="T31" fmla="*/ 38 h 101"/>
                <a:gd name="T32" fmla="*/ 58 w 83"/>
                <a:gd name="T33" fmla="*/ 33 h 101"/>
                <a:gd name="T34" fmla="*/ 54 w 83"/>
                <a:gd name="T35" fmla="*/ 25 h 101"/>
                <a:gd name="T36" fmla="*/ 44 w 83"/>
                <a:gd name="T37" fmla="*/ 21 h 101"/>
                <a:gd name="T38" fmla="*/ 30 w 83"/>
                <a:gd name="T39" fmla="*/ 22 h 101"/>
                <a:gd name="T40" fmla="*/ 17 w 83"/>
                <a:gd name="T41" fmla="*/ 27 h 101"/>
                <a:gd name="T42" fmla="*/ 7 w 83"/>
                <a:gd name="T43" fmla="*/ 10 h 101"/>
                <a:gd name="T44" fmla="*/ 25 w 83"/>
                <a:gd name="T45" fmla="*/ 2 h 101"/>
                <a:gd name="T46" fmla="*/ 44 w 83"/>
                <a:gd name="T47" fmla="*/ 0 h 101"/>
                <a:gd name="T48" fmla="*/ 60 w 83"/>
                <a:gd name="T49" fmla="*/ 2 h 101"/>
                <a:gd name="T50" fmla="*/ 72 w 83"/>
                <a:gd name="T51" fmla="*/ 9 h 101"/>
                <a:gd name="T52" fmla="*/ 80 w 83"/>
                <a:gd name="T53" fmla="*/ 19 h 101"/>
                <a:gd name="T54" fmla="*/ 83 w 83"/>
                <a:gd name="T55" fmla="*/ 34 h 101"/>
                <a:gd name="T56" fmla="*/ 83 w 83"/>
                <a:gd name="T57" fmla="*/ 99 h 101"/>
                <a:gd name="T58" fmla="*/ 58 w 83"/>
                <a:gd name="T59" fmla="*/ 99 h 101"/>
                <a:gd name="T60" fmla="*/ 58 w 83"/>
                <a:gd name="T61" fmla="*/ 58 h 101"/>
                <a:gd name="T62" fmla="*/ 54 w 83"/>
                <a:gd name="T63" fmla="*/ 57 h 101"/>
                <a:gd name="T64" fmla="*/ 51 w 83"/>
                <a:gd name="T65" fmla="*/ 55 h 101"/>
                <a:gd name="T66" fmla="*/ 46 w 83"/>
                <a:gd name="T67" fmla="*/ 55 h 101"/>
                <a:gd name="T68" fmla="*/ 40 w 83"/>
                <a:gd name="T69" fmla="*/ 54 h 101"/>
                <a:gd name="T70" fmla="*/ 29 w 83"/>
                <a:gd name="T71" fmla="*/ 58 h 101"/>
                <a:gd name="T72" fmla="*/ 25 w 83"/>
                <a:gd name="T73" fmla="*/ 67 h 101"/>
                <a:gd name="T74" fmla="*/ 26 w 83"/>
                <a:gd name="T75" fmla="*/ 71 h 101"/>
                <a:gd name="T76" fmla="*/ 28 w 83"/>
                <a:gd name="T77" fmla="*/ 76 h 101"/>
                <a:gd name="T78" fmla="*/ 33 w 83"/>
                <a:gd name="T79" fmla="*/ 78 h 101"/>
                <a:gd name="T80" fmla="*/ 40 w 83"/>
                <a:gd name="T81" fmla="*/ 80 h 101"/>
                <a:gd name="T82" fmla="*/ 46 w 83"/>
                <a:gd name="T83" fmla="*/ 79 h 101"/>
                <a:gd name="T84" fmla="*/ 51 w 83"/>
                <a:gd name="T85" fmla="*/ 77 h 101"/>
                <a:gd name="T86" fmla="*/ 55 w 83"/>
                <a:gd name="T87" fmla="*/ 74 h 101"/>
                <a:gd name="T88" fmla="*/ 58 w 83"/>
                <a:gd name="T89" fmla="*/ 71 h 101"/>
                <a:gd name="T90" fmla="*/ 58 w 83"/>
                <a:gd name="T91" fmla="*/ 5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83" h="101">
                  <a:moveTo>
                    <a:pt x="58" y="99"/>
                  </a:moveTo>
                  <a:cubicBezTo>
                    <a:pt x="58" y="93"/>
                    <a:pt x="58" y="93"/>
                    <a:pt x="58" y="93"/>
                  </a:cubicBezTo>
                  <a:cubicBezTo>
                    <a:pt x="57" y="94"/>
                    <a:pt x="55" y="95"/>
                    <a:pt x="54" y="96"/>
                  </a:cubicBezTo>
                  <a:cubicBezTo>
                    <a:pt x="52" y="97"/>
                    <a:pt x="51" y="98"/>
                    <a:pt x="49" y="99"/>
                  </a:cubicBezTo>
                  <a:cubicBezTo>
                    <a:pt x="47" y="100"/>
                    <a:pt x="44" y="100"/>
                    <a:pt x="42" y="101"/>
                  </a:cubicBezTo>
                  <a:cubicBezTo>
                    <a:pt x="40" y="101"/>
                    <a:pt x="38" y="101"/>
                    <a:pt x="36" y="101"/>
                  </a:cubicBezTo>
                  <a:cubicBezTo>
                    <a:pt x="31" y="101"/>
                    <a:pt x="27" y="100"/>
                    <a:pt x="23" y="99"/>
                  </a:cubicBezTo>
                  <a:cubicBezTo>
                    <a:pt x="18" y="98"/>
                    <a:pt x="14" y="96"/>
                    <a:pt x="11" y="93"/>
                  </a:cubicBezTo>
                  <a:cubicBezTo>
                    <a:pt x="8" y="90"/>
                    <a:pt x="5" y="86"/>
                    <a:pt x="3" y="82"/>
                  </a:cubicBezTo>
                  <a:cubicBezTo>
                    <a:pt x="1" y="78"/>
                    <a:pt x="0" y="73"/>
                    <a:pt x="0" y="67"/>
                  </a:cubicBezTo>
                  <a:cubicBezTo>
                    <a:pt x="0" y="61"/>
                    <a:pt x="1" y="57"/>
                    <a:pt x="3" y="53"/>
                  </a:cubicBezTo>
                  <a:cubicBezTo>
                    <a:pt x="5" y="48"/>
                    <a:pt x="8" y="45"/>
                    <a:pt x="11" y="42"/>
                  </a:cubicBezTo>
                  <a:cubicBezTo>
                    <a:pt x="15" y="40"/>
                    <a:pt x="19" y="38"/>
                    <a:pt x="24" y="36"/>
                  </a:cubicBezTo>
                  <a:cubicBezTo>
                    <a:pt x="28" y="35"/>
                    <a:pt x="33" y="34"/>
                    <a:pt x="39" y="34"/>
                  </a:cubicBezTo>
                  <a:cubicBezTo>
                    <a:pt x="43" y="34"/>
                    <a:pt x="47" y="35"/>
                    <a:pt x="50" y="36"/>
                  </a:cubicBezTo>
                  <a:cubicBezTo>
                    <a:pt x="53" y="36"/>
                    <a:pt x="56" y="37"/>
                    <a:pt x="58" y="38"/>
                  </a:cubicBezTo>
                  <a:cubicBezTo>
                    <a:pt x="58" y="33"/>
                    <a:pt x="58" y="33"/>
                    <a:pt x="58" y="33"/>
                  </a:cubicBezTo>
                  <a:cubicBezTo>
                    <a:pt x="58" y="30"/>
                    <a:pt x="56" y="27"/>
                    <a:pt x="54" y="25"/>
                  </a:cubicBezTo>
                  <a:cubicBezTo>
                    <a:pt x="52" y="22"/>
                    <a:pt x="48" y="21"/>
                    <a:pt x="44" y="21"/>
                  </a:cubicBezTo>
                  <a:cubicBezTo>
                    <a:pt x="38" y="21"/>
                    <a:pt x="33" y="21"/>
                    <a:pt x="30" y="22"/>
                  </a:cubicBezTo>
                  <a:cubicBezTo>
                    <a:pt x="26" y="23"/>
                    <a:pt x="22" y="25"/>
                    <a:pt x="17" y="27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14" y="6"/>
                    <a:pt x="19" y="4"/>
                    <a:pt x="25" y="2"/>
                  </a:cubicBezTo>
                  <a:cubicBezTo>
                    <a:pt x="30" y="1"/>
                    <a:pt x="37" y="0"/>
                    <a:pt x="44" y="0"/>
                  </a:cubicBezTo>
                  <a:cubicBezTo>
                    <a:pt x="50" y="0"/>
                    <a:pt x="55" y="1"/>
                    <a:pt x="60" y="2"/>
                  </a:cubicBezTo>
                  <a:cubicBezTo>
                    <a:pt x="65" y="4"/>
                    <a:pt x="69" y="6"/>
                    <a:pt x="72" y="9"/>
                  </a:cubicBezTo>
                  <a:cubicBezTo>
                    <a:pt x="76" y="12"/>
                    <a:pt x="79" y="15"/>
                    <a:pt x="80" y="19"/>
                  </a:cubicBezTo>
                  <a:cubicBezTo>
                    <a:pt x="82" y="24"/>
                    <a:pt x="83" y="29"/>
                    <a:pt x="83" y="34"/>
                  </a:cubicBezTo>
                  <a:cubicBezTo>
                    <a:pt x="83" y="99"/>
                    <a:pt x="83" y="99"/>
                    <a:pt x="83" y="99"/>
                  </a:cubicBezTo>
                  <a:lnTo>
                    <a:pt x="58" y="99"/>
                  </a:lnTo>
                  <a:close/>
                  <a:moveTo>
                    <a:pt x="58" y="58"/>
                  </a:moveTo>
                  <a:cubicBezTo>
                    <a:pt x="57" y="58"/>
                    <a:pt x="55" y="57"/>
                    <a:pt x="54" y="57"/>
                  </a:cubicBezTo>
                  <a:cubicBezTo>
                    <a:pt x="53" y="56"/>
                    <a:pt x="52" y="56"/>
                    <a:pt x="51" y="55"/>
                  </a:cubicBezTo>
                  <a:cubicBezTo>
                    <a:pt x="49" y="55"/>
                    <a:pt x="48" y="55"/>
                    <a:pt x="46" y="55"/>
                  </a:cubicBezTo>
                  <a:cubicBezTo>
                    <a:pt x="44" y="54"/>
                    <a:pt x="42" y="54"/>
                    <a:pt x="40" y="54"/>
                  </a:cubicBezTo>
                  <a:cubicBezTo>
                    <a:pt x="35" y="54"/>
                    <a:pt x="31" y="55"/>
                    <a:pt x="29" y="58"/>
                  </a:cubicBezTo>
                  <a:cubicBezTo>
                    <a:pt x="26" y="60"/>
                    <a:pt x="25" y="63"/>
                    <a:pt x="25" y="67"/>
                  </a:cubicBezTo>
                  <a:cubicBezTo>
                    <a:pt x="25" y="68"/>
                    <a:pt x="25" y="70"/>
                    <a:pt x="26" y="71"/>
                  </a:cubicBezTo>
                  <a:cubicBezTo>
                    <a:pt x="26" y="73"/>
                    <a:pt x="27" y="74"/>
                    <a:pt x="28" y="76"/>
                  </a:cubicBezTo>
                  <a:cubicBezTo>
                    <a:pt x="30" y="77"/>
                    <a:pt x="31" y="78"/>
                    <a:pt x="33" y="78"/>
                  </a:cubicBezTo>
                  <a:cubicBezTo>
                    <a:pt x="35" y="79"/>
                    <a:pt x="37" y="80"/>
                    <a:pt x="40" y="80"/>
                  </a:cubicBezTo>
                  <a:cubicBezTo>
                    <a:pt x="42" y="80"/>
                    <a:pt x="44" y="79"/>
                    <a:pt x="46" y="79"/>
                  </a:cubicBezTo>
                  <a:cubicBezTo>
                    <a:pt x="48" y="78"/>
                    <a:pt x="49" y="78"/>
                    <a:pt x="51" y="77"/>
                  </a:cubicBezTo>
                  <a:cubicBezTo>
                    <a:pt x="52" y="76"/>
                    <a:pt x="54" y="75"/>
                    <a:pt x="55" y="74"/>
                  </a:cubicBezTo>
                  <a:cubicBezTo>
                    <a:pt x="56" y="73"/>
                    <a:pt x="57" y="72"/>
                    <a:pt x="58" y="71"/>
                  </a:cubicBezTo>
                  <a:lnTo>
                    <a:pt x="58" y="5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12" name="Freeform 29">
              <a:extLst>
                <a:ext uri="{FF2B5EF4-FFF2-40B4-BE49-F238E27FC236}">
                  <a16:creationId xmlns:a16="http://schemas.microsoft.com/office/drawing/2014/main" id="{A827519A-33F0-4CCB-AE07-C95A795FF2FB}"/>
                </a:ext>
              </a:extLst>
            </p:cNvPr>
            <p:cNvSpPr>
              <a:spLocks/>
            </p:cNvSpPr>
            <p:nvPr/>
          </p:nvSpPr>
          <p:spPr bwMode="white">
            <a:xfrm>
              <a:off x="10477037" y="1430515"/>
              <a:ext cx="57529" cy="67989"/>
            </a:xfrm>
            <a:custGeom>
              <a:avLst/>
              <a:gdLst>
                <a:gd name="T0" fmla="*/ 59 w 84"/>
                <a:gd name="T1" fmla="*/ 99 h 99"/>
                <a:gd name="T2" fmla="*/ 59 w 84"/>
                <a:gd name="T3" fmla="*/ 47 h 99"/>
                <a:gd name="T4" fmla="*/ 55 w 84"/>
                <a:gd name="T5" fmla="*/ 30 h 99"/>
                <a:gd name="T6" fmla="*/ 42 w 84"/>
                <a:gd name="T7" fmla="*/ 24 h 99"/>
                <a:gd name="T8" fmla="*/ 35 w 84"/>
                <a:gd name="T9" fmla="*/ 25 h 99"/>
                <a:gd name="T10" fmla="*/ 30 w 84"/>
                <a:gd name="T11" fmla="*/ 29 h 99"/>
                <a:gd name="T12" fmla="*/ 27 w 84"/>
                <a:gd name="T13" fmla="*/ 35 h 99"/>
                <a:gd name="T14" fmla="*/ 26 w 84"/>
                <a:gd name="T15" fmla="*/ 46 h 99"/>
                <a:gd name="T16" fmla="*/ 26 w 84"/>
                <a:gd name="T17" fmla="*/ 99 h 99"/>
                <a:gd name="T18" fmla="*/ 0 w 84"/>
                <a:gd name="T19" fmla="*/ 99 h 99"/>
                <a:gd name="T20" fmla="*/ 0 w 84"/>
                <a:gd name="T21" fmla="*/ 2 h 99"/>
                <a:gd name="T22" fmla="*/ 26 w 84"/>
                <a:gd name="T23" fmla="*/ 2 h 99"/>
                <a:gd name="T24" fmla="*/ 26 w 84"/>
                <a:gd name="T25" fmla="*/ 8 h 99"/>
                <a:gd name="T26" fmla="*/ 30 w 84"/>
                <a:gd name="T27" fmla="*/ 5 h 99"/>
                <a:gd name="T28" fmla="*/ 35 w 84"/>
                <a:gd name="T29" fmla="*/ 2 h 99"/>
                <a:gd name="T30" fmla="*/ 41 w 84"/>
                <a:gd name="T31" fmla="*/ 1 h 99"/>
                <a:gd name="T32" fmla="*/ 48 w 84"/>
                <a:gd name="T33" fmla="*/ 0 h 99"/>
                <a:gd name="T34" fmla="*/ 64 w 84"/>
                <a:gd name="T35" fmla="*/ 3 h 99"/>
                <a:gd name="T36" fmla="*/ 76 w 84"/>
                <a:gd name="T37" fmla="*/ 12 h 99"/>
                <a:gd name="T38" fmla="*/ 82 w 84"/>
                <a:gd name="T39" fmla="*/ 26 h 99"/>
                <a:gd name="T40" fmla="*/ 84 w 84"/>
                <a:gd name="T41" fmla="*/ 44 h 99"/>
                <a:gd name="T42" fmla="*/ 84 w 84"/>
                <a:gd name="T43" fmla="*/ 99 h 99"/>
                <a:gd name="T44" fmla="*/ 59 w 84"/>
                <a:gd name="T45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4" h="99">
                  <a:moveTo>
                    <a:pt x="59" y="99"/>
                  </a:moveTo>
                  <a:cubicBezTo>
                    <a:pt x="59" y="47"/>
                    <a:pt x="59" y="47"/>
                    <a:pt x="59" y="47"/>
                  </a:cubicBezTo>
                  <a:cubicBezTo>
                    <a:pt x="59" y="39"/>
                    <a:pt x="58" y="33"/>
                    <a:pt x="55" y="30"/>
                  </a:cubicBezTo>
                  <a:cubicBezTo>
                    <a:pt x="53" y="26"/>
                    <a:pt x="48" y="24"/>
                    <a:pt x="42" y="24"/>
                  </a:cubicBezTo>
                  <a:cubicBezTo>
                    <a:pt x="40" y="24"/>
                    <a:pt x="37" y="24"/>
                    <a:pt x="35" y="25"/>
                  </a:cubicBezTo>
                  <a:cubicBezTo>
                    <a:pt x="33" y="26"/>
                    <a:pt x="31" y="27"/>
                    <a:pt x="30" y="29"/>
                  </a:cubicBezTo>
                  <a:cubicBezTo>
                    <a:pt x="29" y="30"/>
                    <a:pt x="28" y="33"/>
                    <a:pt x="27" y="35"/>
                  </a:cubicBezTo>
                  <a:cubicBezTo>
                    <a:pt x="26" y="38"/>
                    <a:pt x="26" y="42"/>
                    <a:pt x="26" y="46"/>
                  </a:cubicBezTo>
                  <a:cubicBezTo>
                    <a:pt x="26" y="99"/>
                    <a:pt x="26" y="99"/>
                    <a:pt x="26" y="99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7" y="7"/>
                    <a:pt x="28" y="6"/>
                    <a:pt x="30" y="5"/>
                  </a:cubicBezTo>
                  <a:cubicBezTo>
                    <a:pt x="31" y="4"/>
                    <a:pt x="33" y="3"/>
                    <a:pt x="35" y="2"/>
                  </a:cubicBezTo>
                  <a:cubicBezTo>
                    <a:pt x="37" y="2"/>
                    <a:pt x="39" y="1"/>
                    <a:pt x="41" y="1"/>
                  </a:cubicBezTo>
                  <a:cubicBezTo>
                    <a:pt x="44" y="0"/>
                    <a:pt x="46" y="0"/>
                    <a:pt x="48" y="0"/>
                  </a:cubicBezTo>
                  <a:cubicBezTo>
                    <a:pt x="55" y="0"/>
                    <a:pt x="60" y="1"/>
                    <a:pt x="64" y="3"/>
                  </a:cubicBezTo>
                  <a:cubicBezTo>
                    <a:pt x="69" y="5"/>
                    <a:pt x="73" y="8"/>
                    <a:pt x="76" y="12"/>
                  </a:cubicBezTo>
                  <a:cubicBezTo>
                    <a:pt x="79" y="16"/>
                    <a:pt x="81" y="20"/>
                    <a:pt x="82" y="26"/>
                  </a:cubicBezTo>
                  <a:cubicBezTo>
                    <a:pt x="84" y="31"/>
                    <a:pt x="84" y="38"/>
                    <a:pt x="84" y="44"/>
                  </a:cubicBezTo>
                  <a:cubicBezTo>
                    <a:pt x="84" y="99"/>
                    <a:pt x="84" y="99"/>
                    <a:pt x="84" y="99"/>
                  </a:cubicBezTo>
                  <a:lnTo>
                    <a:pt x="59" y="9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13" name="Freeform 30">
              <a:extLst>
                <a:ext uri="{FF2B5EF4-FFF2-40B4-BE49-F238E27FC236}">
                  <a16:creationId xmlns:a16="http://schemas.microsoft.com/office/drawing/2014/main" id="{4BC09A9F-8959-48BA-9B94-7840D333316F}"/>
                </a:ext>
              </a:extLst>
            </p:cNvPr>
            <p:cNvSpPr>
              <a:spLocks noEditPoints="1"/>
            </p:cNvSpPr>
            <p:nvPr/>
          </p:nvSpPr>
          <p:spPr bwMode="white">
            <a:xfrm>
              <a:off x="10547642" y="1406980"/>
              <a:ext cx="57529" cy="92832"/>
            </a:xfrm>
            <a:custGeom>
              <a:avLst/>
              <a:gdLst>
                <a:gd name="T0" fmla="*/ 58 w 84"/>
                <a:gd name="T1" fmla="*/ 135 h 137"/>
                <a:gd name="T2" fmla="*/ 58 w 84"/>
                <a:gd name="T3" fmla="*/ 129 h 137"/>
                <a:gd name="T4" fmla="*/ 55 w 84"/>
                <a:gd name="T5" fmla="*/ 132 h 137"/>
                <a:gd name="T6" fmla="*/ 50 w 84"/>
                <a:gd name="T7" fmla="*/ 135 h 137"/>
                <a:gd name="T8" fmla="*/ 45 w 84"/>
                <a:gd name="T9" fmla="*/ 137 h 137"/>
                <a:gd name="T10" fmla="*/ 38 w 84"/>
                <a:gd name="T11" fmla="*/ 137 h 137"/>
                <a:gd name="T12" fmla="*/ 23 w 84"/>
                <a:gd name="T13" fmla="*/ 134 h 137"/>
                <a:gd name="T14" fmla="*/ 11 w 84"/>
                <a:gd name="T15" fmla="*/ 125 h 137"/>
                <a:gd name="T16" fmla="*/ 3 w 84"/>
                <a:gd name="T17" fmla="*/ 109 h 137"/>
                <a:gd name="T18" fmla="*/ 0 w 84"/>
                <a:gd name="T19" fmla="*/ 85 h 137"/>
                <a:gd name="T20" fmla="*/ 3 w 84"/>
                <a:gd name="T21" fmla="*/ 65 h 137"/>
                <a:gd name="T22" fmla="*/ 10 w 84"/>
                <a:gd name="T23" fmla="*/ 50 h 137"/>
                <a:gd name="T24" fmla="*/ 22 w 84"/>
                <a:gd name="T25" fmla="*/ 40 h 137"/>
                <a:gd name="T26" fmla="*/ 38 w 84"/>
                <a:gd name="T27" fmla="*/ 36 h 137"/>
                <a:gd name="T28" fmla="*/ 44 w 84"/>
                <a:gd name="T29" fmla="*/ 36 h 137"/>
                <a:gd name="T30" fmla="*/ 50 w 84"/>
                <a:gd name="T31" fmla="*/ 38 h 137"/>
                <a:gd name="T32" fmla="*/ 55 w 84"/>
                <a:gd name="T33" fmla="*/ 41 h 137"/>
                <a:gd name="T34" fmla="*/ 58 w 84"/>
                <a:gd name="T35" fmla="*/ 44 h 137"/>
                <a:gd name="T36" fmla="*/ 58 w 84"/>
                <a:gd name="T37" fmla="*/ 13 h 137"/>
                <a:gd name="T38" fmla="*/ 84 w 84"/>
                <a:gd name="T39" fmla="*/ 0 h 137"/>
                <a:gd name="T40" fmla="*/ 84 w 84"/>
                <a:gd name="T41" fmla="*/ 135 h 137"/>
                <a:gd name="T42" fmla="*/ 58 w 84"/>
                <a:gd name="T43" fmla="*/ 135 h 137"/>
                <a:gd name="T44" fmla="*/ 58 w 84"/>
                <a:gd name="T45" fmla="*/ 68 h 137"/>
                <a:gd name="T46" fmla="*/ 55 w 84"/>
                <a:gd name="T47" fmla="*/ 65 h 137"/>
                <a:gd name="T48" fmla="*/ 52 w 84"/>
                <a:gd name="T49" fmla="*/ 62 h 137"/>
                <a:gd name="T50" fmla="*/ 47 w 84"/>
                <a:gd name="T51" fmla="*/ 61 h 137"/>
                <a:gd name="T52" fmla="*/ 41 w 84"/>
                <a:gd name="T53" fmla="*/ 60 h 137"/>
                <a:gd name="T54" fmla="*/ 30 w 84"/>
                <a:gd name="T55" fmla="*/ 66 h 137"/>
                <a:gd name="T56" fmla="*/ 26 w 84"/>
                <a:gd name="T57" fmla="*/ 85 h 137"/>
                <a:gd name="T58" fmla="*/ 27 w 84"/>
                <a:gd name="T59" fmla="*/ 98 h 137"/>
                <a:gd name="T60" fmla="*/ 31 w 84"/>
                <a:gd name="T61" fmla="*/ 106 h 137"/>
                <a:gd name="T62" fmla="*/ 36 w 84"/>
                <a:gd name="T63" fmla="*/ 111 h 137"/>
                <a:gd name="T64" fmla="*/ 43 w 84"/>
                <a:gd name="T65" fmla="*/ 113 h 137"/>
                <a:gd name="T66" fmla="*/ 48 w 84"/>
                <a:gd name="T67" fmla="*/ 112 h 137"/>
                <a:gd name="T68" fmla="*/ 52 w 84"/>
                <a:gd name="T69" fmla="*/ 111 h 137"/>
                <a:gd name="T70" fmla="*/ 56 w 84"/>
                <a:gd name="T71" fmla="*/ 108 h 137"/>
                <a:gd name="T72" fmla="*/ 58 w 84"/>
                <a:gd name="T73" fmla="*/ 105 h 137"/>
                <a:gd name="T74" fmla="*/ 58 w 84"/>
                <a:gd name="T75" fmla="*/ 68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4" h="137">
                  <a:moveTo>
                    <a:pt x="58" y="135"/>
                  </a:moveTo>
                  <a:cubicBezTo>
                    <a:pt x="58" y="129"/>
                    <a:pt x="58" y="129"/>
                    <a:pt x="58" y="129"/>
                  </a:cubicBezTo>
                  <a:cubicBezTo>
                    <a:pt x="57" y="130"/>
                    <a:pt x="56" y="131"/>
                    <a:pt x="55" y="132"/>
                  </a:cubicBezTo>
                  <a:cubicBezTo>
                    <a:pt x="53" y="133"/>
                    <a:pt x="52" y="134"/>
                    <a:pt x="50" y="135"/>
                  </a:cubicBezTo>
                  <a:cubicBezTo>
                    <a:pt x="48" y="136"/>
                    <a:pt x="47" y="136"/>
                    <a:pt x="45" y="137"/>
                  </a:cubicBezTo>
                  <a:cubicBezTo>
                    <a:pt x="43" y="137"/>
                    <a:pt x="40" y="137"/>
                    <a:pt x="38" y="137"/>
                  </a:cubicBezTo>
                  <a:cubicBezTo>
                    <a:pt x="33" y="137"/>
                    <a:pt x="28" y="136"/>
                    <a:pt x="23" y="134"/>
                  </a:cubicBezTo>
                  <a:cubicBezTo>
                    <a:pt x="19" y="132"/>
                    <a:pt x="15" y="129"/>
                    <a:pt x="11" y="125"/>
                  </a:cubicBezTo>
                  <a:cubicBezTo>
                    <a:pt x="8" y="121"/>
                    <a:pt x="5" y="115"/>
                    <a:pt x="3" y="109"/>
                  </a:cubicBezTo>
                  <a:cubicBezTo>
                    <a:pt x="1" y="102"/>
                    <a:pt x="0" y="94"/>
                    <a:pt x="0" y="85"/>
                  </a:cubicBezTo>
                  <a:cubicBezTo>
                    <a:pt x="0" y="78"/>
                    <a:pt x="1" y="71"/>
                    <a:pt x="3" y="65"/>
                  </a:cubicBezTo>
                  <a:cubicBezTo>
                    <a:pt x="4" y="59"/>
                    <a:pt x="7" y="54"/>
                    <a:pt x="10" y="50"/>
                  </a:cubicBezTo>
                  <a:cubicBezTo>
                    <a:pt x="13" y="45"/>
                    <a:pt x="17" y="42"/>
                    <a:pt x="22" y="40"/>
                  </a:cubicBezTo>
                  <a:cubicBezTo>
                    <a:pt x="27" y="37"/>
                    <a:pt x="32" y="36"/>
                    <a:pt x="38" y="36"/>
                  </a:cubicBezTo>
                  <a:cubicBezTo>
                    <a:pt x="40" y="36"/>
                    <a:pt x="42" y="36"/>
                    <a:pt x="44" y="36"/>
                  </a:cubicBezTo>
                  <a:cubicBezTo>
                    <a:pt x="46" y="37"/>
                    <a:pt x="48" y="37"/>
                    <a:pt x="50" y="38"/>
                  </a:cubicBezTo>
                  <a:cubicBezTo>
                    <a:pt x="52" y="39"/>
                    <a:pt x="53" y="40"/>
                    <a:pt x="55" y="41"/>
                  </a:cubicBezTo>
                  <a:cubicBezTo>
                    <a:pt x="56" y="42"/>
                    <a:pt x="57" y="42"/>
                    <a:pt x="58" y="44"/>
                  </a:cubicBezTo>
                  <a:cubicBezTo>
                    <a:pt x="58" y="13"/>
                    <a:pt x="58" y="13"/>
                    <a:pt x="58" y="13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135"/>
                    <a:pt x="84" y="135"/>
                    <a:pt x="84" y="135"/>
                  </a:cubicBezTo>
                  <a:lnTo>
                    <a:pt x="58" y="135"/>
                  </a:lnTo>
                  <a:close/>
                  <a:moveTo>
                    <a:pt x="58" y="68"/>
                  </a:moveTo>
                  <a:cubicBezTo>
                    <a:pt x="57" y="67"/>
                    <a:pt x="56" y="66"/>
                    <a:pt x="55" y="65"/>
                  </a:cubicBezTo>
                  <a:cubicBezTo>
                    <a:pt x="54" y="64"/>
                    <a:pt x="53" y="63"/>
                    <a:pt x="52" y="62"/>
                  </a:cubicBezTo>
                  <a:cubicBezTo>
                    <a:pt x="50" y="62"/>
                    <a:pt x="49" y="61"/>
                    <a:pt x="47" y="61"/>
                  </a:cubicBezTo>
                  <a:cubicBezTo>
                    <a:pt x="45" y="60"/>
                    <a:pt x="43" y="60"/>
                    <a:pt x="41" y="60"/>
                  </a:cubicBezTo>
                  <a:cubicBezTo>
                    <a:pt x="36" y="60"/>
                    <a:pt x="33" y="62"/>
                    <a:pt x="30" y="66"/>
                  </a:cubicBezTo>
                  <a:cubicBezTo>
                    <a:pt x="27" y="70"/>
                    <a:pt x="26" y="77"/>
                    <a:pt x="26" y="85"/>
                  </a:cubicBezTo>
                  <a:cubicBezTo>
                    <a:pt x="26" y="90"/>
                    <a:pt x="27" y="94"/>
                    <a:pt x="27" y="98"/>
                  </a:cubicBezTo>
                  <a:cubicBezTo>
                    <a:pt x="28" y="101"/>
                    <a:pt x="29" y="104"/>
                    <a:pt x="31" y="106"/>
                  </a:cubicBezTo>
                  <a:cubicBezTo>
                    <a:pt x="32" y="109"/>
                    <a:pt x="34" y="110"/>
                    <a:pt x="36" y="111"/>
                  </a:cubicBezTo>
                  <a:cubicBezTo>
                    <a:pt x="38" y="113"/>
                    <a:pt x="40" y="113"/>
                    <a:pt x="43" y="113"/>
                  </a:cubicBezTo>
                  <a:cubicBezTo>
                    <a:pt x="45" y="113"/>
                    <a:pt x="46" y="113"/>
                    <a:pt x="48" y="112"/>
                  </a:cubicBezTo>
                  <a:cubicBezTo>
                    <a:pt x="50" y="112"/>
                    <a:pt x="51" y="112"/>
                    <a:pt x="52" y="111"/>
                  </a:cubicBezTo>
                  <a:cubicBezTo>
                    <a:pt x="53" y="110"/>
                    <a:pt x="55" y="109"/>
                    <a:pt x="56" y="108"/>
                  </a:cubicBezTo>
                  <a:cubicBezTo>
                    <a:pt x="57" y="107"/>
                    <a:pt x="58" y="106"/>
                    <a:pt x="58" y="105"/>
                  </a:cubicBezTo>
                  <a:lnTo>
                    <a:pt x="58" y="6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14" name="Freeform 31">
              <a:extLst>
                <a:ext uri="{FF2B5EF4-FFF2-40B4-BE49-F238E27FC236}">
                  <a16:creationId xmlns:a16="http://schemas.microsoft.com/office/drawing/2014/main" id="{125CF3D1-4644-4A4C-A605-6CBB28099392}"/>
                </a:ext>
              </a:extLst>
            </p:cNvPr>
            <p:cNvSpPr>
              <a:spLocks/>
            </p:cNvSpPr>
            <p:nvPr/>
          </p:nvSpPr>
          <p:spPr bwMode="white">
            <a:xfrm>
              <a:off x="11214461" y="970279"/>
              <a:ext cx="83679" cy="112444"/>
            </a:xfrm>
            <a:custGeom>
              <a:avLst/>
              <a:gdLst>
                <a:gd name="T0" fmla="*/ 123 w 123"/>
                <a:gd name="T1" fmla="*/ 94 h 165"/>
                <a:gd name="T2" fmla="*/ 107 w 123"/>
                <a:gd name="T3" fmla="*/ 147 h 165"/>
                <a:gd name="T4" fmla="*/ 62 w 123"/>
                <a:gd name="T5" fmla="*/ 165 h 165"/>
                <a:gd name="T6" fmla="*/ 39 w 123"/>
                <a:gd name="T7" fmla="*/ 161 h 165"/>
                <a:gd name="T8" fmla="*/ 22 w 123"/>
                <a:gd name="T9" fmla="*/ 151 h 165"/>
                <a:gd name="T10" fmla="*/ 8 w 123"/>
                <a:gd name="T11" fmla="*/ 136 h 165"/>
                <a:gd name="T12" fmla="*/ 0 w 123"/>
                <a:gd name="T13" fmla="*/ 117 h 165"/>
                <a:gd name="T14" fmla="*/ 31 w 123"/>
                <a:gd name="T15" fmla="*/ 108 h 165"/>
                <a:gd name="T16" fmla="*/ 36 w 123"/>
                <a:gd name="T17" fmla="*/ 119 h 165"/>
                <a:gd name="T18" fmla="*/ 43 w 123"/>
                <a:gd name="T19" fmla="*/ 126 h 165"/>
                <a:gd name="T20" fmla="*/ 51 w 123"/>
                <a:gd name="T21" fmla="*/ 131 h 165"/>
                <a:gd name="T22" fmla="*/ 62 w 123"/>
                <a:gd name="T23" fmla="*/ 132 h 165"/>
                <a:gd name="T24" fmla="*/ 75 w 123"/>
                <a:gd name="T25" fmla="*/ 130 h 165"/>
                <a:gd name="T26" fmla="*/ 84 w 123"/>
                <a:gd name="T27" fmla="*/ 123 h 165"/>
                <a:gd name="T28" fmla="*/ 89 w 123"/>
                <a:gd name="T29" fmla="*/ 111 h 165"/>
                <a:gd name="T30" fmla="*/ 91 w 123"/>
                <a:gd name="T31" fmla="*/ 95 h 165"/>
                <a:gd name="T32" fmla="*/ 91 w 123"/>
                <a:gd name="T33" fmla="*/ 0 h 165"/>
                <a:gd name="T34" fmla="*/ 123 w 123"/>
                <a:gd name="T35" fmla="*/ 0 h 165"/>
                <a:gd name="T36" fmla="*/ 123 w 123"/>
                <a:gd name="T37" fmla="*/ 94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3" h="165">
                  <a:moveTo>
                    <a:pt x="123" y="94"/>
                  </a:moveTo>
                  <a:cubicBezTo>
                    <a:pt x="123" y="117"/>
                    <a:pt x="118" y="135"/>
                    <a:pt x="107" y="147"/>
                  </a:cubicBezTo>
                  <a:cubicBezTo>
                    <a:pt x="97" y="159"/>
                    <a:pt x="81" y="165"/>
                    <a:pt x="62" y="165"/>
                  </a:cubicBezTo>
                  <a:cubicBezTo>
                    <a:pt x="54" y="165"/>
                    <a:pt x="46" y="163"/>
                    <a:pt x="39" y="161"/>
                  </a:cubicBezTo>
                  <a:cubicBezTo>
                    <a:pt x="33" y="159"/>
                    <a:pt x="27" y="155"/>
                    <a:pt x="22" y="151"/>
                  </a:cubicBezTo>
                  <a:cubicBezTo>
                    <a:pt x="16" y="147"/>
                    <a:pt x="12" y="142"/>
                    <a:pt x="8" y="136"/>
                  </a:cubicBezTo>
                  <a:cubicBezTo>
                    <a:pt x="4" y="130"/>
                    <a:pt x="2" y="124"/>
                    <a:pt x="0" y="117"/>
                  </a:cubicBezTo>
                  <a:cubicBezTo>
                    <a:pt x="31" y="108"/>
                    <a:pt x="31" y="108"/>
                    <a:pt x="31" y="108"/>
                  </a:cubicBezTo>
                  <a:cubicBezTo>
                    <a:pt x="33" y="113"/>
                    <a:pt x="35" y="116"/>
                    <a:pt x="36" y="119"/>
                  </a:cubicBezTo>
                  <a:cubicBezTo>
                    <a:pt x="38" y="122"/>
                    <a:pt x="40" y="124"/>
                    <a:pt x="43" y="126"/>
                  </a:cubicBezTo>
                  <a:cubicBezTo>
                    <a:pt x="45" y="128"/>
                    <a:pt x="48" y="130"/>
                    <a:pt x="51" y="131"/>
                  </a:cubicBezTo>
                  <a:cubicBezTo>
                    <a:pt x="54" y="132"/>
                    <a:pt x="58" y="132"/>
                    <a:pt x="62" y="132"/>
                  </a:cubicBezTo>
                  <a:cubicBezTo>
                    <a:pt x="67" y="132"/>
                    <a:pt x="71" y="131"/>
                    <a:pt x="75" y="130"/>
                  </a:cubicBezTo>
                  <a:cubicBezTo>
                    <a:pt x="78" y="128"/>
                    <a:pt x="81" y="126"/>
                    <a:pt x="84" y="123"/>
                  </a:cubicBezTo>
                  <a:cubicBezTo>
                    <a:pt x="86" y="119"/>
                    <a:pt x="88" y="115"/>
                    <a:pt x="89" y="111"/>
                  </a:cubicBezTo>
                  <a:cubicBezTo>
                    <a:pt x="90" y="106"/>
                    <a:pt x="91" y="101"/>
                    <a:pt x="91" y="95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123" y="0"/>
                    <a:pt x="123" y="0"/>
                    <a:pt x="123" y="0"/>
                  </a:cubicBezTo>
                  <a:lnTo>
                    <a:pt x="123" y="9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15" name="Freeform 32">
              <a:extLst>
                <a:ext uri="{FF2B5EF4-FFF2-40B4-BE49-F238E27FC236}">
                  <a16:creationId xmlns:a16="http://schemas.microsoft.com/office/drawing/2014/main" id="{5C66EC1B-AD1B-491B-A19A-A2C96C78BC6A}"/>
                </a:ext>
              </a:extLst>
            </p:cNvPr>
            <p:cNvSpPr>
              <a:spLocks noEditPoints="1"/>
            </p:cNvSpPr>
            <p:nvPr/>
          </p:nvSpPr>
          <p:spPr bwMode="white">
            <a:xfrm>
              <a:off x="11312522" y="970279"/>
              <a:ext cx="105907" cy="111137"/>
            </a:xfrm>
            <a:custGeom>
              <a:avLst/>
              <a:gdLst>
                <a:gd name="T0" fmla="*/ 81 w 81"/>
                <a:gd name="T1" fmla="*/ 85 h 85"/>
                <a:gd name="T2" fmla="*/ 63 w 81"/>
                <a:gd name="T3" fmla="*/ 85 h 85"/>
                <a:gd name="T4" fmla="*/ 56 w 81"/>
                <a:gd name="T5" fmla="*/ 66 h 85"/>
                <a:gd name="T6" fmla="*/ 24 w 81"/>
                <a:gd name="T7" fmla="*/ 66 h 85"/>
                <a:gd name="T8" fmla="*/ 18 w 81"/>
                <a:gd name="T9" fmla="*/ 85 h 85"/>
                <a:gd name="T10" fmla="*/ 0 w 81"/>
                <a:gd name="T11" fmla="*/ 85 h 85"/>
                <a:gd name="T12" fmla="*/ 32 w 81"/>
                <a:gd name="T13" fmla="*/ 0 h 85"/>
                <a:gd name="T14" fmla="*/ 49 w 81"/>
                <a:gd name="T15" fmla="*/ 0 h 85"/>
                <a:gd name="T16" fmla="*/ 81 w 81"/>
                <a:gd name="T17" fmla="*/ 85 h 85"/>
                <a:gd name="T18" fmla="*/ 50 w 81"/>
                <a:gd name="T19" fmla="*/ 50 h 85"/>
                <a:gd name="T20" fmla="*/ 40 w 81"/>
                <a:gd name="T21" fmla="*/ 22 h 85"/>
                <a:gd name="T22" fmla="*/ 31 w 81"/>
                <a:gd name="T23" fmla="*/ 50 h 85"/>
                <a:gd name="T24" fmla="*/ 50 w 81"/>
                <a:gd name="T25" fmla="*/ 5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1" h="85">
                  <a:moveTo>
                    <a:pt x="81" y="85"/>
                  </a:moveTo>
                  <a:lnTo>
                    <a:pt x="63" y="85"/>
                  </a:lnTo>
                  <a:lnTo>
                    <a:pt x="56" y="66"/>
                  </a:lnTo>
                  <a:lnTo>
                    <a:pt x="24" y="66"/>
                  </a:lnTo>
                  <a:lnTo>
                    <a:pt x="18" y="85"/>
                  </a:lnTo>
                  <a:lnTo>
                    <a:pt x="0" y="85"/>
                  </a:lnTo>
                  <a:lnTo>
                    <a:pt x="32" y="0"/>
                  </a:lnTo>
                  <a:lnTo>
                    <a:pt x="49" y="0"/>
                  </a:lnTo>
                  <a:lnTo>
                    <a:pt x="81" y="85"/>
                  </a:lnTo>
                  <a:close/>
                  <a:moveTo>
                    <a:pt x="50" y="50"/>
                  </a:moveTo>
                  <a:lnTo>
                    <a:pt x="40" y="22"/>
                  </a:lnTo>
                  <a:lnTo>
                    <a:pt x="31" y="50"/>
                  </a:lnTo>
                  <a:lnTo>
                    <a:pt x="50" y="5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16" name="Freeform 33">
              <a:extLst>
                <a:ext uri="{FF2B5EF4-FFF2-40B4-BE49-F238E27FC236}">
                  <a16:creationId xmlns:a16="http://schemas.microsoft.com/office/drawing/2014/main" id="{DE0C7275-54C1-4C0E-A900-3BA9CF18FC7F}"/>
                </a:ext>
              </a:extLst>
            </p:cNvPr>
            <p:cNvSpPr>
              <a:spLocks/>
            </p:cNvSpPr>
            <p:nvPr/>
          </p:nvSpPr>
          <p:spPr bwMode="white">
            <a:xfrm>
              <a:off x="11439349" y="970279"/>
              <a:ext cx="88909" cy="111137"/>
            </a:xfrm>
            <a:custGeom>
              <a:avLst/>
              <a:gdLst>
                <a:gd name="T0" fmla="*/ 51 w 68"/>
                <a:gd name="T1" fmla="*/ 85 h 85"/>
                <a:gd name="T2" fmla="*/ 51 w 68"/>
                <a:gd name="T3" fmla="*/ 49 h 85"/>
                <a:gd name="T4" fmla="*/ 17 w 68"/>
                <a:gd name="T5" fmla="*/ 49 h 85"/>
                <a:gd name="T6" fmla="*/ 17 w 68"/>
                <a:gd name="T7" fmla="*/ 85 h 85"/>
                <a:gd name="T8" fmla="*/ 0 w 68"/>
                <a:gd name="T9" fmla="*/ 85 h 85"/>
                <a:gd name="T10" fmla="*/ 0 w 68"/>
                <a:gd name="T11" fmla="*/ 0 h 85"/>
                <a:gd name="T12" fmla="*/ 17 w 68"/>
                <a:gd name="T13" fmla="*/ 0 h 85"/>
                <a:gd name="T14" fmla="*/ 17 w 68"/>
                <a:gd name="T15" fmla="*/ 33 h 85"/>
                <a:gd name="T16" fmla="*/ 51 w 68"/>
                <a:gd name="T17" fmla="*/ 33 h 85"/>
                <a:gd name="T18" fmla="*/ 51 w 68"/>
                <a:gd name="T19" fmla="*/ 0 h 85"/>
                <a:gd name="T20" fmla="*/ 68 w 68"/>
                <a:gd name="T21" fmla="*/ 0 h 85"/>
                <a:gd name="T22" fmla="*/ 68 w 68"/>
                <a:gd name="T23" fmla="*/ 85 h 85"/>
                <a:gd name="T24" fmla="*/ 51 w 68"/>
                <a:gd name="T25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8" h="85">
                  <a:moveTo>
                    <a:pt x="51" y="85"/>
                  </a:moveTo>
                  <a:lnTo>
                    <a:pt x="51" y="49"/>
                  </a:lnTo>
                  <a:lnTo>
                    <a:pt x="17" y="49"/>
                  </a:lnTo>
                  <a:lnTo>
                    <a:pt x="17" y="85"/>
                  </a:lnTo>
                  <a:lnTo>
                    <a:pt x="0" y="85"/>
                  </a:lnTo>
                  <a:lnTo>
                    <a:pt x="0" y="0"/>
                  </a:lnTo>
                  <a:lnTo>
                    <a:pt x="17" y="0"/>
                  </a:lnTo>
                  <a:lnTo>
                    <a:pt x="17" y="33"/>
                  </a:lnTo>
                  <a:lnTo>
                    <a:pt x="51" y="33"/>
                  </a:lnTo>
                  <a:lnTo>
                    <a:pt x="51" y="0"/>
                  </a:lnTo>
                  <a:lnTo>
                    <a:pt x="68" y="0"/>
                  </a:lnTo>
                  <a:lnTo>
                    <a:pt x="68" y="85"/>
                  </a:lnTo>
                  <a:lnTo>
                    <a:pt x="51" y="8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17" name="Freeform 34">
              <a:extLst>
                <a:ext uri="{FF2B5EF4-FFF2-40B4-BE49-F238E27FC236}">
                  <a16:creationId xmlns:a16="http://schemas.microsoft.com/office/drawing/2014/main" id="{0A332B72-1C98-486F-B1D7-FD53CDB0B0EC}"/>
                </a:ext>
              </a:extLst>
            </p:cNvPr>
            <p:cNvSpPr>
              <a:spLocks noEditPoints="1"/>
            </p:cNvSpPr>
            <p:nvPr/>
          </p:nvSpPr>
          <p:spPr bwMode="white">
            <a:xfrm>
              <a:off x="11557023" y="970279"/>
              <a:ext cx="90217" cy="111137"/>
            </a:xfrm>
            <a:custGeom>
              <a:avLst/>
              <a:gdLst>
                <a:gd name="T0" fmla="*/ 94 w 131"/>
                <a:gd name="T1" fmla="*/ 162 h 162"/>
                <a:gd name="T2" fmla="*/ 65 w 131"/>
                <a:gd name="T3" fmla="*/ 104 h 162"/>
                <a:gd name="T4" fmla="*/ 32 w 131"/>
                <a:gd name="T5" fmla="*/ 104 h 162"/>
                <a:gd name="T6" fmla="*/ 32 w 131"/>
                <a:gd name="T7" fmla="*/ 162 h 162"/>
                <a:gd name="T8" fmla="*/ 0 w 131"/>
                <a:gd name="T9" fmla="*/ 162 h 162"/>
                <a:gd name="T10" fmla="*/ 0 w 131"/>
                <a:gd name="T11" fmla="*/ 0 h 162"/>
                <a:gd name="T12" fmla="*/ 75 w 131"/>
                <a:gd name="T13" fmla="*/ 0 h 162"/>
                <a:gd name="T14" fmla="*/ 97 w 131"/>
                <a:gd name="T15" fmla="*/ 3 h 162"/>
                <a:gd name="T16" fmla="*/ 115 w 131"/>
                <a:gd name="T17" fmla="*/ 12 h 162"/>
                <a:gd name="T18" fmla="*/ 127 w 131"/>
                <a:gd name="T19" fmla="*/ 29 h 162"/>
                <a:gd name="T20" fmla="*/ 131 w 131"/>
                <a:gd name="T21" fmla="*/ 51 h 162"/>
                <a:gd name="T22" fmla="*/ 129 w 131"/>
                <a:gd name="T23" fmla="*/ 68 h 162"/>
                <a:gd name="T24" fmla="*/ 123 w 131"/>
                <a:gd name="T25" fmla="*/ 81 h 162"/>
                <a:gd name="T26" fmla="*/ 113 w 131"/>
                <a:gd name="T27" fmla="*/ 92 h 162"/>
                <a:gd name="T28" fmla="*/ 100 w 131"/>
                <a:gd name="T29" fmla="*/ 99 h 162"/>
                <a:gd name="T30" fmla="*/ 131 w 131"/>
                <a:gd name="T31" fmla="*/ 162 h 162"/>
                <a:gd name="T32" fmla="*/ 94 w 131"/>
                <a:gd name="T33" fmla="*/ 162 h 162"/>
                <a:gd name="T34" fmla="*/ 98 w 131"/>
                <a:gd name="T35" fmla="*/ 52 h 162"/>
                <a:gd name="T36" fmla="*/ 96 w 131"/>
                <a:gd name="T37" fmla="*/ 42 h 162"/>
                <a:gd name="T38" fmla="*/ 91 w 131"/>
                <a:gd name="T39" fmla="*/ 36 h 162"/>
                <a:gd name="T40" fmla="*/ 84 w 131"/>
                <a:gd name="T41" fmla="*/ 32 h 162"/>
                <a:gd name="T42" fmla="*/ 75 w 131"/>
                <a:gd name="T43" fmla="*/ 31 h 162"/>
                <a:gd name="T44" fmla="*/ 32 w 131"/>
                <a:gd name="T45" fmla="*/ 31 h 162"/>
                <a:gd name="T46" fmla="*/ 32 w 131"/>
                <a:gd name="T47" fmla="*/ 73 h 162"/>
                <a:gd name="T48" fmla="*/ 75 w 131"/>
                <a:gd name="T49" fmla="*/ 73 h 162"/>
                <a:gd name="T50" fmla="*/ 85 w 131"/>
                <a:gd name="T51" fmla="*/ 72 h 162"/>
                <a:gd name="T52" fmla="*/ 92 w 131"/>
                <a:gd name="T53" fmla="*/ 67 h 162"/>
                <a:gd name="T54" fmla="*/ 96 w 131"/>
                <a:gd name="T55" fmla="*/ 61 h 162"/>
                <a:gd name="T56" fmla="*/ 98 w 131"/>
                <a:gd name="T57" fmla="*/ 5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31" h="162">
                  <a:moveTo>
                    <a:pt x="94" y="162"/>
                  </a:moveTo>
                  <a:cubicBezTo>
                    <a:pt x="65" y="104"/>
                    <a:pt x="65" y="104"/>
                    <a:pt x="65" y="104"/>
                  </a:cubicBezTo>
                  <a:cubicBezTo>
                    <a:pt x="32" y="104"/>
                    <a:pt x="32" y="104"/>
                    <a:pt x="32" y="104"/>
                  </a:cubicBezTo>
                  <a:cubicBezTo>
                    <a:pt x="32" y="162"/>
                    <a:pt x="32" y="162"/>
                    <a:pt x="32" y="162"/>
                  </a:cubicBezTo>
                  <a:cubicBezTo>
                    <a:pt x="0" y="162"/>
                    <a:pt x="0" y="162"/>
                    <a:pt x="0" y="16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83" y="0"/>
                    <a:pt x="90" y="1"/>
                    <a:pt x="97" y="3"/>
                  </a:cubicBezTo>
                  <a:cubicBezTo>
                    <a:pt x="104" y="5"/>
                    <a:pt x="110" y="8"/>
                    <a:pt x="115" y="12"/>
                  </a:cubicBezTo>
                  <a:cubicBezTo>
                    <a:pt x="120" y="17"/>
                    <a:pt x="124" y="22"/>
                    <a:pt x="127" y="29"/>
                  </a:cubicBezTo>
                  <a:cubicBezTo>
                    <a:pt x="130" y="35"/>
                    <a:pt x="131" y="42"/>
                    <a:pt x="131" y="51"/>
                  </a:cubicBezTo>
                  <a:cubicBezTo>
                    <a:pt x="131" y="58"/>
                    <a:pt x="130" y="63"/>
                    <a:pt x="129" y="68"/>
                  </a:cubicBezTo>
                  <a:cubicBezTo>
                    <a:pt x="128" y="73"/>
                    <a:pt x="126" y="78"/>
                    <a:pt x="123" y="81"/>
                  </a:cubicBezTo>
                  <a:cubicBezTo>
                    <a:pt x="120" y="85"/>
                    <a:pt x="117" y="89"/>
                    <a:pt x="113" y="92"/>
                  </a:cubicBezTo>
                  <a:cubicBezTo>
                    <a:pt x="110" y="94"/>
                    <a:pt x="105" y="97"/>
                    <a:pt x="100" y="99"/>
                  </a:cubicBezTo>
                  <a:cubicBezTo>
                    <a:pt x="131" y="162"/>
                    <a:pt x="131" y="162"/>
                    <a:pt x="131" y="162"/>
                  </a:cubicBezTo>
                  <a:lnTo>
                    <a:pt x="94" y="162"/>
                  </a:lnTo>
                  <a:close/>
                  <a:moveTo>
                    <a:pt x="98" y="52"/>
                  </a:moveTo>
                  <a:cubicBezTo>
                    <a:pt x="98" y="48"/>
                    <a:pt x="97" y="45"/>
                    <a:pt x="96" y="42"/>
                  </a:cubicBezTo>
                  <a:cubicBezTo>
                    <a:pt x="95" y="39"/>
                    <a:pt x="93" y="37"/>
                    <a:pt x="91" y="36"/>
                  </a:cubicBezTo>
                  <a:cubicBezTo>
                    <a:pt x="89" y="34"/>
                    <a:pt x="86" y="33"/>
                    <a:pt x="84" y="32"/>
                  </a:cubicBezTo>
                  <a:cubicBezTo>
                    <a:pt x="81" y="32"/>
                    <a:pt x="78" y="31"/>
                    <a:pt x="75" y="31"/>
                  </a:cubicBezTo>
                  <a:cubicBezTo>
                    <a:pt x="32" y="31"/>
                    <a:pt x="32" y="31"/>
                    <a:pt x="32" y="31"/>
                  </a:cubicBezTo>
                  <a:cubicBezTo>
                    <a:pt x="32" y="73"/>
                    <a:pt x="32" y="73"/>
                    <a:pt x="32" y="73"/>
                  </a:cubicBezTo>
                  <a:cubicBezTo>
                    <a:pt x="75" y="73"/>
                    <a:pt x="75" y="73"/>
                    <a:pt x="75" y="73"/>
                  </a:cubicBezTo>
                  <a:cubicBezTo>
                    <a:pt x="79" y="73"/>
                    <a:pt x="82" y="72"/>
                    <a:pt x="85" y="72"/>
                  </a:cubicBezTo>
                  <a:cubicBezTo>
                    <a:pt x="88" y="71"/>
                    <a:pt x="90" y="69"/>
                    <a:pt x="92" y="67"/>
                  </a:cubicBezTo>
                  <a:cubicBezTo>
                    <a:pt x="94" y="66"/>
                    <a:pt x="95" y="64"/>
                    <a:pt x="96" y="61"/>
                  </a:cubicBezTo>
                  <a:cubicBezTo>
                    <a:pt x="97" y="58"/>
                    <a:pt x="98" y="55"/>
                    <a:pt x="98" y="5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18" name="Freeform 35">
              <a:extLst>
                <a:ext uri="{FF2B5EF4-FFF2-40B4-BE49-F238E27FC236}">
                  <a16:creationId xmlns:a16="http://schemas.microsoft.com/office/drawing/2014/main" id="{B3BCF9E1-0026-4389-B268-FEF82FAE2561}"/>
                </a:ext>
              </a:extLst>
            </p:cNvPr>
            <p:cNvSpPr>
              <a:spLocks/>
            </p:cNvSpPr>
            <p:nvPr/>
          </p:nvSpPr>
          <p:spPr bwMode="white">
            <a:xfrm>
              <a:off x="11669468" y="970279"/>
              <a:ext cx="79757" cy="111137"/>
            </a:xfrm>
            <a:custGeom>
              <a:avLst/>
              <a:gdLst>
                <a:gd name="T0" fmla="*/ 61 w 61"/>
                <a:gd name="T1" fmla="*/ 85 h 85"/>
                <a:gd name="T2" fmla="*/ 0 w 61"/>
                <a:gd name="T3" fmla="*/ 85 h 85"/>
                <a:gd name="T4" fmla="*/ 0 w 61"/>
                <a:gd name="T5" fmla="*/ 0 h 85"/>
                <a:gd name="T6" fmla="*/ 59 w 61"/>
                <a:gd name="T7" fmla="*/ 0 h 85"/>
                <a:gd name="T8" fmla="*/ 59 w 61"/>
                <a:gd name="T9" fmla="*/ 16 h 85"/>
                <a:gd name="T10" fmla="*/ 18 w 61"/>
                <a:gd name="T11" fmla="*/ 16 h 85"/>
                <a:gd name="T12" fmla="*/ 18 w 61"/>
                <a:gd name="T13" fmla="*/ 31 h 85"/>
                <a:gd name="T14" fmla="*/ 52 w 61"/>
                <a:gd name="T15" fmla="*/ 31 h 85"/>
                <a:gd name="T16" fmla="*/ 52 w 61"/>
                <a:gd name="T17" fmla="*/ 48 h 85"/>
                <a:gd name="T18" fmla="*/ 18 w 61"/>
                <a:gd name="T19" fmla="*/ 48 h 85"/>
                <a:gd name="T20" fmla="*/ 18 w 61"/>
                <a:gd name="T21" fmla="*/ 68 h 85"/>
                <a:gd name="T22" fmla="*/ 61 w 61"/>
                <a:gd name="T23" fmla="*/ 68 h 85"/>
                <a:gd name="T24" fmla="*/ 61 w 61"/>
                <a:gd name="T25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1" h="85">
                  <a:moveTo>
                    <a:pt x="61" y="85"/>
                  </a:moveTo>
                  <a:lnTo>
                    <a:pt x="0" y="85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6"/>
                  </a:lnTo>
                  <a:lnTo>
                    <a:pt x="18" y="16"/>
                  </a:lnTo>
                  <a:lnTo>
                    <a:pt x="18" y="31"/>
                  </a:lnTo>
                  <a:lnTo>
                    <a:pt x="52" y="31"/>
                  </a:lnTo>
                  <a:lnTo>
                    <a:pt x="52" y="48"/>
                  </a:lnTo>
                  <a:lnTo>
                    <a:pt x="18" y="48"/>
                  </a:lnTo>
                  <a:lnTo>
                    <a:pt x="18" y="68"/>
                  </a:lnTo>
                  <a:lnTo>
                    <a:pt x="61" y="68"/>
                  </a:lnTo>
                  <a:lnTo>
                    <a:pt x="61" y="8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19" name="Freeform 36">
              <a:extLst>
                <a:ext uri="{FF2B5EF4-FFF2-40B4-BE49-F238E27FC236}">
                  <a16:creationId xmlns:a16="http://schemas.microsoft.com/office/drawing/2014/main" id="{649F954E-57A5-4CCA-9CAB-F232FEBD5F36}"/>
                </a:ext>
              </a:extLst>
            </p:cNvPr>
            <p:cNvSpPr>
              <a:spLocks/>
            </p:cNvSpPr>
            <p:nvPr/>
          </p:nvSpPr>
          <p:spPr bwMode="white">
            <a:xfrm>
              <a:off x="9731769" y="1013426"/>
              <a:ext cx="261498" cy="366097"/>
            </a:xfrm>
            <a:custGeom>
              <a:avLst/>
              <a:gdLst>
                <a:gd name="T0" fmla="*/ 200 w 200"/>
                <a:gd name="T1" fmla="*/ 280 h 280"/>
                <a:gd name="T2" fmla="*/ 0 w 200"/>
                <a:gd name="T3" fmla="*/ 280 h 280"/>
                <a:gd name="T4" fmla="*/ 0 w 200"/>
                <a:gd name="T5" fmla="*/ 0 h 280"/>
                <a:gd name="T6" fmla="*/ 181 w 200"/>
                <a:gd name="T7" fmla="*/ 0 h 280"/>
                <a:gd name="T8" fmla="*/ 181 w 200"/>
                <a:gd name="T9" fmla="*/ 55 h 280"/>
                <a:gd name="T10" fmla="*/ 55 w 200"/>
                <a:gd name="T11" fmla="*/ 55 h 280"/>
                <a:gd name="T12" fmla="*/ 55 w 200"/>
                <a:gd name="T13" fmla="*/ 103 h 280"/>
                <a:gd name="T14" fmla="*/ 168 w 200"/>
                <a:gd name="T15" fmla="*/ 103 h 280"/>
                <a:gd name="T16" fmla="*/ 168 w 200"/>
                <a:gd name="T17" fmla="*/ 157 h 280"/>
                <a:gd name="T18" fmla="*/ 55 w 200"/>
                <a:gd name="T19" fmla="*/ 157 h 280"/>
                <a:gd name="T20" fmla="*/ 55 w 200"/>
                <a:gd name="T21" fmla="*/ 225 h 280"/>
                <a:gd name="T22" fmla="*/ 200 w 200"/>
                <a:gd name="T23" fmla="*/ 225 h 280"/>
                <a:gd name="T24" fmla="*/ 200 w 200"/>
                <a:gd name="T25" fmla="*/ 280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0" h="280">
                  <a:moveTo>
                    <a:pt x="200" y="280"/>
                  </a:moveTo>
                  <a:lnTo>
                    <a:pt x="0" y="280"/>
                  </a:lnTo>
                  <a:lnTo>
                    <a:pt x="0" y="0"/>
                  </a:lnTo>
                  <a:lnTo>
                    <a:pt x="181" y="0"/>
                  </a:lnTo>
                  <a:lnTo>
                    <a:pt x="181" y="55"/>
                  </a:lnTo>
                  <a:lnTo>
                    <a:pt x="55" y="55"/>
                  </a:lnTo>
                  <a:lnTo>
                    <a:pt x="55" y="103"/>
                  </a:lnTo>
                  <a:lnTo>
                    <a:pt x="168" y="103"/>
                  </a:lnTo>
                  <a:lnTo>
                    <a:pt x="168" y="157"/>
                  </a:lnTo>
                  <a:lnTo>
                    <a:pt x="55" y="157"/>
                  </a:lnTo>
                  <a:lnTo>
                    <a:pt x="55" y="225"/>
                  </a:lnTo>
                  <a:lnTo>
                    <a:pt x="200" y="225"/>
                  </a:lnTo>
                  <a:lnTo>
                    <a:pt x="200" y="28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20" name="Freeform 37">
              <a:extLst>
                <a:ext uri="{FF2B5EF4-FFF2-40B4-BE49-F238E27FC236}">
                  <a16:creationId xmlns:a16="http://schemas.microsoft.com/office/drawing/2014/main" id="{6DE56CC7-4BD4-440A-97FD-A8FAEC415494}"/>
                </a:ext>
              </a:extLst>
            </p:cNvPr>
            <p:cNvSpPr>
              <a:spLocks/>
            </p:cNvSpPr>
            <p:nvPr/>
          </p:nvSpPr>
          <p:spPr bwMode="white">
            <a:xfrm>
              <a:off x="9981497" y="1013426"/>
              <a:ext cx="334717" cy="366097"/>
            </a:xfrm>
            <a:custGeom>
              <a:avLst/>
              <a:gdLst>
                <a:gd name="T0" fmla="*/ 256 w 256"/>
                <a:gd name="T1" fmla="*/ 0 h 280"/>
                <a:gd name="T2" fmla="*/ 156 w 256"/>
                <a:gd name="T3" fmla="*/ 157 h 280"/>
                <a:gd name="T4" fmla="*/ 156 w 256"/>
                <a:gd name="T5" fmla="*/ 280 h 280"/>
                <a:gd name="T6" fmla="*/ 100 w 256"/>
                <a:gd name="T7" fmla="*/ 280 h 280"/>
                <a:gd name="T8" fmla="*/ 100 w 256"/>
                <a:gd name="T9" fmla="*/ 159 h 280"/>
                <a:gd name="T10" fmla="*/ 0 w 256"/>
                <a:gd name="T11" fmla="*/ 0 h 280"/>
                <a:gd name="T12" fmla="*/ 64 w 256"/>
                <a:gd name="T13" fmla="*/ 0 h 280"/>
                <a:gd name="T14" fmla="*/ 128 w 256"/>
                <a:gd name="T15" fmla="*/ 106 h 280"/>
                <a:gd name="T16" fmla="*/ 192 w 256"/>
                <a:gd name="T17" fmla="*/ 0 h 280"/>
                <a:gd name="T18" fmla="*/ 256 w 256"/>
                <a:gd name="T19" fmla="*/ 0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6" h="280">
                  <a:moveTo>
                    <a:pt x="256" y="0"/>
                  </a:moveTo>
                  <a:lnTo>
                    <a:pt x="156" y="157"/>
                  </a:lnTo>
                  <a:lnTo>
                    <a:pt x="156" y="280"/>
                  </a:lnTo>
                  <a:lnTo>
                    <a:pt x="100" y="280"/>
                  </a:lnTo>
                  <a:lnTo>
                    <a:pt x="100" y="159"/>
                  </a:lnTo>
                  <a:lnTo>
                    <a:pt x="0" y="0"/>
                  </a:lnTo>
                  <a:lnTo>
                    <a:pt x="64" y="0"/>
                  </a:lnTo>
                  <a:lnTo>
                    <a:pt x="128" y="106"/>
                  </a:lnTo>
                  <a:lnTo>
                    <a:pt x="192" y="0"/>
                  </a:lnTo>
                  <a:lnTo>
                    <a:pt x="256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21" name="Freeform 38">
              <a:extLst>
                <a:ext uri="{FF2B5EF4-FFF2-40B4-BE49-F238E27FC236}">
                  <a16:creationId xmlns:a16="http://schemas.microsoft.com/office/drawing/2014/main" id="{658A3BBD-2F70-448C-911B-74A58B3D4525}"/>
                </a:ext>
              </a:extLst>
            </p:cNvPr>
            <p:cNvSpPr>
              <a:spLocks noEditPoints="1"/>
            </p:cNvSpPr>
            <p:nvPr/>
          </p:nvSpPr>
          <p:spPr bwMode="white">
            <a:xfrm>
              <a:off x="10199846" y="638177"/>
              <a:ext cx="1435622" cy="1039454"/>
            </a:xfrm>
            <a:custGeom>
              <a:avLst/>
              <a:gdLst>
                <a:gd name="T0" fmla="*/ 0 w 2104"/>
                <a:gd name="T1" fmla="*/ 293 h 1521"/>
                <a:gd name="T2" fmla="*/ 243 w 2104"/>
                <a:gd name="T3" fmla="*/ 139 h 1521"/>
                <a:gd name="T4" fmla="*/ 243 w 2104"/>
                <a:gd name="T5" fmla="*/ 191 h 1521"/>
                <a:gd name="T6" fmla="*/ 176 w 2104"/>
                <a:gd name="T7" fmla="*/ 1056 h 1521"/>
                <a:gd name="T8" fmla="*/ 279 w 2104"/>
                <a:gd name="T9" fmla="*/ 25 h 1521"/>
                <a:gd name="T10" fmla="*/ 1557 w 2104"/>
                <a:gd name="T11" fmla="*/ 1144 h 1521"/>
                <a:gd name="T12" fmla="*/ 1557 w 2104"/>
                <a:gd name="T13" fmla="*/ 1108 h 1521"/>
                <a:gd name="T14" fmla="*/ 1557 w 2104"/>
                <a:gd name="T15" fmla="*/ 1072 h 1521"/>
                <a:gd name="T16" fmla="*/ 1557 w 2104"/>
                <a:gd name="T17" fmla="*/ 1035 h 1521"/>
                <a:gd name="T18" fmla="*/ 1557 w 2104"/>
                <a:gd name="T19" fmla="*/ 1000 h 1521"/>
                <a:gd name="T20" fmla="*/ 1186 w 2104"/>
                <a:gd name="T21" fmla="*/ 465 h 1521"/>
                <a:gd name="T22" fmla="*/ 1915 w 2104"/>
                <a:gd name="T23" fmla="*/ 372 h 1521"/>
                <a:gd name="T24" fmla="*/ 1099 w 2104"/>
                <a:gd name="T25" fmla="*/ 499 h 1521"/>
                <a:gd name="T26" fmla="*/ 1977 w 2104"/>
                <a:gd name="T27" fmla="*/ 426 h 1521"/>
                <a:gd name="T28" fmla="*/ 1089 w 2104"/>
                <a:gd name="T29" fmla="*/ 421 h 1521"/>
                <a:gd name="T30" fmla="*/ 1565 w 2104"/>
                <a:gd name="T31" fmla="*/ 60 h 1521"/>
                <a:gd name="T32" fmla="*/ 1565 w 2104"/>
                <a:gd name="T33" fmla="*/ 24 h 1521"/>
                <a:gd name="T34" fmla="*/ 556 w 2104"/>
                <a:gd name="T35" fmla="*/ 485 h 1521"/>
                <a:gd name="T36" fmla="*/ 468 w 2104"/>
                <a:gd name="T37" fmla="*/ 41 h 1521"/>
                <a:gd name="T38" fmla="*/ 388 w 2104"/>
                <a:gd name="T39" fmla="*/ 106 h 1521"/>
                <a:gd name="T40" fmla="*/ 351 w 2104"/>
                <a:gd name="T41" fmla="*/ 760 h 1521"/>
                <a:gd name="T42" fmla="*/ 316 w 2104"/>
                <a:gd name="T43" fmla="*/ 70 h 1521"/>
                <a:gd name="T44" fmla="*/ 434 w 2104"/>
                <a:gd name="T45" fmla="*/ 1086 h 1521"/>
                <a:gd name="T46" fmla="*/ 885 w 2104"/>
                <a:gd name="T47" fmla="*/ 487 h 1521"/>
                <a:gd name="T48" fmla="*/ 885 w 2104"/>
                <a:gd name="T49" fmla="*/ 523 h 1521"/>
                <a:gd name="T50" fmla="*/ 568 w 2104"/>
                <a:gd name="T51" fmla="*/ 1056 h 1521"/>
                <a:gd name="T52" fmla="*/ 885 w 2104"/>
                <a:gd name="T53" fmla="*/ 559 h 1521"/>
                <a:gd name="T54" fmla="*/ 1089 w 2104"/>
                <a:gd name="T55" fmla="*/ 534 h 1521"/>
                <a:gd name="T56" fmla="*/ 1299 w 2104"/>
                <a:gd name="T57" fmla="*/ 996 h 1521"/>
                <a:gd name="T58" fmla="*/ 672 w 2104"/>
                <a:gd name="T59" fmla="*/ 1250 h 1521"/>
                <a:gd name="T60" fmla="*/ 894 w 2104"/>
                <a:gd name="T61" fmla="*/ 1377 h 1521"/>
                <a:gd name="T62" fmla="*/ 895 w 2104"/>
                <a:gd name="T63" fmla="*/ 1413 h 1521"/>
                <a:gd name="T64" fmla="*/ 619 w 2104"/>
                <a:gd name="T65" fmla="*/ 1361 h 1521"/>
                <a:gd name="T66" fmla="*/ 1382 w 2104"/>
                <a:gd name="T67" fmla="*/ 1152 h 1521"/>
                <a:gd name="T68" fmla="*/ 509 w 2104"/>
                <a:gd name="T69" fmla="*/ 1325 h 1521"/>
                <a:gd name="T70" fmla="*/ 1416 w 2104"/>
                <a:gd name="T71" fmla="*/ 1162 h 1521"/>
                <a:gd name="T72" fmla="*/ 2062 w 2104"/>
                <a:gd name="T73" fmla="*/ 711 h 1521"/>
                <a:gd name="T74" fmla="*/ 386 w 2104"/>
                <a:gd name="T75" fmla="*/ 950 h 1521"/>
                <a:gd name="T76" fmla="*/ 351 w 2104"/>
                <a:gd name="T77" fmla="*/ 968 h 1521"/>
                <a:gd name="T78" fmla="*/ 885 w 2104"/>
                <a:gd name="T79" fmla="*/ 415 h 1521"/>
                <a:gd name="T80" fmla="*/ 1162 w 2104"/>
                <a:gd name="T81" fmla="*/ 535 h 1521"/>
                <a:gd name="T82" fmla="*/ 1420 w 2104"/>
                <a:gd name="T83" fmla="*/ 978 h 1521"/>
                <a:gd name="T84" fmla="*/ 1162 w 2104"/>
                <a:gd name="T85" fmla="*/ 535 h 1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104" h="1521">
                  <a:moveTo>
                    <a:pt x="268" y="12"/>
                  </a:moveTo>
                  <a:cubicBezTo>
                    <a:pt x="259" y="12"/>
                    <a:pt x="252" y="20"/>
                    <a:pt x="246" y="26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4" y="303"/>
                    <a:pt x="25" y="320"/>
                    <a:pt x="51" y="291"/>
                  </a:cubicBezTo>
                  <a:cubicBezTo>
                    <a:pt x="66" y="276"/>
                    <a:pt x="243" y="80"/>
                    <a:pt x="243" y="80"/>
                  </a:cubicBezTo>
                  <a:cubicBezTo>
                    <a:pt x="243" y="139"/>
                    <a:pt x="243" y="139"/>
                    <a:pt x="243" y="139"/>
                  </a:cubicBezTo>
                  <a:cubicBezTo>
                    <a:pt x="227" y="157"/>
                    <a:pt x="76" y="322"/>
                    <a:pt x="60" y="338"/>
                  </a:cubicBezTo>
                  <a:cubicBezTo>
                    <a:pt x="38" y="360"/>
                    <a:pt x="46" y="383"/>
                    <a:pt x="59" y="392"/>
                  </a:cubicBezTo>
                  <a:cubicBezTo>
                    <a:pt x="243" y="191"/>
                    <a:pt x="243" y="191"/>
                    <a:pt x="243" y="191"/>
                  </a:cubicBezTo>
                  <a:cubicBezTo>
                    <a:pt x="243" y="983"/>
                    <a:pt x="243" y="983"/>
                    <a:pt x="243" y="983"/>
                  </a:cubicBezTo>
                  <a:cubicBezTo>
                    <a:pt x="243" y="1029"/>
                    <a:pt x="228" y="1059"/>
                    <a:pt x="200" y="1059"/>
                  </a:cubicBezTo>
                  <a:cubicBezTo>
                    <a:pt x="187" y="1059"/>
                    <a:pt x="181" y="1057"/>
                    <a:pt x="176" y="1056"/>
                  </a:cubicBezTo>
                  <a:cubicBezTo>
                    <a:pt x="170" y="1070"/>
                    <a:pt x="180" y="1090"/>
                    <a:pt x="208" y="1090"/>
                  </a:cubicBezTo>
                  <a:cubicBezTo>
                    <a:pt x="268" y="1090"/>
                    <a:pt x="279" y="1027"/>
                    <a:pt x="279" y="983"/>
                  </a:cubicBezTo>
                  <a:cubicBezTo>
                    <a:pt x="279" y="25"/>
                    <a:pt x="279" y="25"/>
                    <a:pt x="279" y="25"/>
                  </a:cubicBezTo>
                  <a:cubicBezTo>
                    <a:pt x="279" y="18"/>
                    <a:pt x="275" y="12"/>
                    <a:pt x="268" y="12"/>
                  </a:cubicBezTo>
                  <a:close/>
                  <a:moveTo>
                    <a:pt x="2062" y="711"/>
                  </a:moveTo>
                  <a:cubicBezTo>
                    <a:pt x="2072" y="820"/>
                    <a:pt x="1941" y="1144"/>
                    <a:pt x="1557" y="1144"/>
                  </a:cubicBezTo>
                  <a:cubicBezTo>
                    <a:pt x="1472" y="1144"/>
                    <a:pt x="1403" y="1124"/>
                    <a:pt x="1361" y="1105"/>
                  </a:cubicBezTo>
                  <a:cubicBezTo>
                    <a:pt x="1364" y="1094"/>
                    <a:pt x="1367" y="1083"/>
                    <a:pt x="1370" y="1072"/>
                  </a:cubicBezTo>
                  <a:cubicBezTo>
                    <a:pt x="1423" y="1094"/>
                    <a:pt x="1482" y="1108"/>
                    <a:pt x="1557" y="1108"/>
                  </a:cubicBezTo>
                  <a:cubicBezTo>
                    <a:pt x="1871" y="1108"/>
                    <a:pt x="1988" y="879"/>
                    <a:pt x="2010" y="795"/>
                  </a:cubicBezTo>
                  <a:cubicBezTo>
                    <a:pt x="2025" y="742"/>
                    <a:pt x="2018" y="711"/>
                    <a:pt x="1981" y="711"/>
                  </a:cubicBezTo>
                  <a:cubicBezTo>
                    <a:pt x="1994" y="785"/>
                    <a:pt x="1899" y="1072"/>
                    <a:pt x="1557" y="1072"/>
                  </a:cubicBezTo>
                  <a:cubicBezTo>
                    <a:pt x="1490" y="1072"/>
                    <a:pt x="1431" y="1059"/>
                    <a:pt x="1377" y="1037"/>
                  </a:cubicBezTo>
                  <a:cubicBezTo>
                    <a:pt x="1379" y="1026"/>
                    <a:pt x="1380" y="1014"/>
                    <a:pt x="1382" y="1003"/>
                  </a:cubicBezTo>
                  <a:cubicBezTo>
                    <a:pt x="1420" y="1018"/>
                    <a:pt x="1479" y="1035"/>
                    <a:pt x="1557" y="1035"/>
                  </a:cubicBezTo>
                  <a:cubicBezTo>
                    <a:pt x="1794" y="1035"/>
                    <a:pt x="1908" y="877"/>
                    <a:pt x="1932" y="781"/>
                  </a:cubicBezTo>
                  <a:cubicBezTo>
                    <a:pt x="1943" y="739"/>
                    <a:pt x="1936" y="711"/>
                    <a:pt x="1902" y="711"/>
                  </a:cubicBezTo>
                  <a:cubicBezTo>
                    <a:pt x="1910" y="784"/>
                    <a:pt x="1826" y="1000"/>
                    <a:pt x="1557" y="1000"/>
                  </a:cubicBezTo>
                  <a:cubicBezTo>
                    <a:pt x="1519" y="1000"/>
                    <a:pt x="1484" y="995"/>
                    <a:pt x="1455" y="988"/>
                  </a:cubicBezTo>
                  <a:cubicBezTo>
                    <a:pt x="1456" y="975"/>
                    <a:pt x="1456" y="960"/>
                    <a:pt x="1456" y="950"/>
                  </a:cubicBezTo>
                  <a:cubicBezTo>
                    <a:pt x="1456" y="749"/>
                    <a:pt x="1351" y="567"/>
                    <a:pt x="1186" y="465"/>
                  </a:cubicBezTo>
                  <a:cubicBezTo>
                    <a:pt x="1249" y="318"/>
                    <a:pt x="1390" y="204"/>
                    <a:pt x="1565" y="204"/>
                  </a:cubicBezTo>
                  <a:cubicBezTo>
                    <a:pt x="1787" y="204"/>
                    <a:pt x="1886" y="374"/>
                    <a:pt x="1896" y="426"/>
                  </a:cubicBezTo>
                  <a:cubicBezTo>
                    <a:pt x="1919" y="426"/>
                    <a:pt x="1925" y="395"/>
                    <a:pt x="1915" y="372"/>
                  </a:cubicBezTo>
                  <a:cubicBezTo>
                    <a:pt x="1892" y="314"/>
                    <a:pt x="1782" y="169"/>
                    <a:pt x="1565" y="169"/>
                  </a:cubicBezTo>
                  <a:cubicBezTo>
                    <a:pt x="1348" y="169"/>
                    <a:pt x="1187" y="321"/>
                    <a:pt x="1131" y="516"/>
                  </a:cubicBezTo>
                  <a:cubicBezTo>
                    <a:pt x="1121" y="510"/>
                    <a:pt x="1110" y="504"/>
                    <a:pt x="1099" y="499"/>
                  </a:cubicBezTo>
                  <a:cubicBezTo>
                    <a:pt x="1107" y="476"/>
                    <a:pt x="1114" y="453"/>
                    <a:pt x="1122" y="434"/>
                  </a:cubicBezTo>
                  <a:cubicBezTo>
                    <a:pt x="1192" y="257"/>
                    <a:pt x="1361" y="132"/>
                    <a:pt x="1565" y="132"/>
                  </a:cubicBezTo>
                  <a:cubicBezTo>
                    <a:pt x="1836" y="132"/>
                    <a:pt x="1966" y="343"/>
                    <a:pt x="1977" y="426"/>
                  </a:cubicBezTo>
                  <a:cubicBezTo>
                    <a:pt x="1997" y="426"/>
                    <a:pt x="2012" y="403"/>
                    <a:pt x="2003" y="378"/>
                  </a:cubicBezTo>
                  <a:cubicBezTo>
                    <a:pt x="1975" y="301"/>
                    <a:pt x="1856" y="96"/>
                    <a:pt x="1565" y="96"/>
                  </a:cubicBezTo>
                  <a:cubicBezTo>
                    <a:pt x="1346" y="96"/>
                    <a:pt x="1164" y="231"/>
                    <a:pt x="1089" y="421"/>
                  </a:cubicBezTo>
                  <a:cubicBezTo>
                    <a:pt x="1082" y="437"/>
                    <a:pt x="1074" y="460"/>
                    <a:pt x="1066" y="485"/>
                  </a:cubicBezTo>
                  <a:cubicBezTo>
                    <a:pt x="1056" y="481"/>
                    <a:pt x="1046" y="477"/>
                    <a:pt x="1036" y="474"/>
                  </a:cubicBezTo>
                  <a:cubicBezTo>
                    <a:pt x="1086" y="263"/>
                    <a:pt x="1283" y="60"/>
                    <a:pt x="1565" y="60"/>
                  </a:cubicBezTo>
                  <a:cubicBezTo>
                    <a:pt x="1936" y="60"/>
                    <a:pt x="2057" y="372"/>
                    <a:pt x="2058" y="426"/>
                  </a:cubicBezTo>
                  <a:cubicBezTo>
                    <a:pt x="2084" y="426"/>
                    <a:pt x="2093" y="398"/>
                    <a:pt x="2085" y="372"/>
                  </a:cubicBezTo>
                  <a:cubicBezTo>
                    <a:pt x="2058" y="289"/>
                    <a:pt x="1922" y="24"/>
                    <a:pt x="1565" y="24"/>
                  </a:cubicBezTo>
                  <a:cubicBezTo>
                    <a:pt x="1298" y="24"/>
                    <a:pt x="1105" y="187"/>
                    <a:pt x="1024" y="396"/>
                  </a:cubicBezTo>
                  <a:cubicBezTo>
                    <a:pt x="979" y="385"/>
                    <a:pt x="932" y="379"/>
                    <a:pt x="885" y="379"/>
                  </a:cubicBezTo>
                  <a:cubicBezTo>
                    <a:pt x="766" y="379"/>
                    <a:pt x="653" y="416"/>
                    <a:pt x="556" y="485"/>
                  </a:cubicBezTo>
                  <a:cubicBezTo>
                    <a:pt x="505" y="522"/>
                    <a:pt x="460" y="566"/>
                    <a:pt x="424" y="616"/>
                  </a:cubicBezTo>
                  <a:cubicBezTo>
                    <a:pt x="424" y="106"/>
                    <a:pt x="424" y="106"/>
                    <a:pt x="424" y="106"/>
                  </a:cubicBezTo>
                  <a:cubicBezTo>
                    <a:pt x="424" y="60"/>
                    <a:pt x="439" y="41"/>
                    <a:pt x="468" y="41"/>
                  </a:cubicBezTo>
                  <a:cubicBezTo>
                    <a:pt x="480" y="41"/>
                    <a:pt x="486" y="43"/>
                    <a:pt x="491" y="44"/>
                  </a:cubicBezTo>
                  <a:cubicBezTo>
                    <a:pt x="497" y="30"/>
                    <a:pt x="487" y="10"/>
                    <a:pt x="459" y="10"/>
                  </a:cubicBezTo>
                  <a:cubicBezTo>
                    <a:pt x="399" y="10"/>
                    <a:pt x="388" y="62"/>
                    <a:pt x="388" y="106"/>
                  </a:cubicBezTo>
                  <a:cubicBezTo>
                    <a:pt x="388" y="106"/>
                    <a:pt x="388" y="518"/>
                    <a:pt x="388" y="672"/>
                  </a:cubicBezTo>
                  <a:cubicBezTo>
                    <a:pt x="388" y="673"/>
                    <a:pt x="387" y="674"/>
                    <a:pt x="387" y="675"/>
                  </a:cubicBezTo>
                  <a:cubicBezTo>
                    <a:pt x="377" y="692"/>
                    <a:pt x="362" y="729"/>
                    <a:pt x="351" y="760"/>
                  </a:cubicBezTo>
                  <a:cubicBezTo>
                    <a:pt x="351" y="84"/>
                    <a:pt x="351" y="84"/>
                    <a:pt x="351" y="84"/>
                  </a:cubicBezTo>
                  <a:cubicBezTo>
                    <a:pt x="351" y="41"/>
                    <a:pt x="361" y="26"/>
                    <a:pt x="369" y="19"/>
                  </a:cubicBezTo>
                  <a:cubicBezTo>
                    <a:pt x="365" y="5"/>
                    <a:pt x="316" y="0"/>
                    <a:pt x="316" y="70"/>
                  </a:cubicBezTo>
                  <a:cubicBezTo>
                    <a:pt x="316" y="103"/>
                    <a:pt x="316" y="984"/>
                    <a:pt x="316" y="984"/>
                  </a:cubicBezTo>
                  <a:cubicBezTo>
                    <a:pt x="316" y="1060"/>
                    <a:pt x="351" y="1091"/>
                    <a:pt x="389" y="1091"/>
                  </a:cubicBezTo>
                  <a:cubicBezTo>
                    <a:pt x="405" y="1091"/>
                    <a:pt x="422" y="1088"/>
                    <a:pt x="434" y="1086"/>
                  </a:cubicBezTo>
                  <a:cubicBezTo>
                    <a:pt x="440" y="1084"/>
                    <a:pt x="444" y="1077"/>
                    <a:pt x="442" y="1071"/>
                  </a:cubicBezTo>
                  <a:cubicBezTo>
                    <a:pt x="430" y="1040"/>
                    <a:pt x="422" y="998"/>
                    <a:pt x="422" y="950"/>
                  </a:cubicBezTo>
                  <a:cubicBezTo>
                    <a:pt x="422" y="694"/>
                    <a:pt x="630" y="487"/>
                    <a:pt x="885" y="487"/>
                  </a:cubicBezTo>
                  <a:cubicBezTo>
                    <a:pt x="946" y="487"/>
                    <a:pt x="1003" y="498"/>
                    <a:pt x="1057" y="519"/>
                  </a:cubicBezTo>
                  <a:cubicBezTo>
                    <a:pt x="1053" y="530"/>
                    <a:pt x="1051" y="542"/>
                    <a:pt x="1048" y="553"/>
                  </a:cubicBezTo>
                  <a:cubicBezTo>
                    <a:pt x="1008" y="537"/>
                    <a:pt x="955" y="523"/>
                    <a:pt x="885" y="523"/>
                  </a:cubicBezTo>
                  <a:cubicBezTo>
                    <a:pt x="650" y="523"/>
                    <a:pt x="458" y="715"/>
                    <a:pt x="458" y="950"/>
                  </a:cubicBezTo>
                  <a:cubicBezTo>
                    <a:pt x="458" y="1011"/>
                    <a:pt x="475" y="1090"/>
                    <a:pt x="535" y="1090"/>
                  </a:cubicBezTo>
                  <a:cubicBezTo>
                    <a:pt x="564" y="1090"/>
                    <a:pt x="574" y="1070"/>
                    <a:pt x="568" y="1056"/>
                  </a:cubicBezTo>
                  <a:cubicBezTo>
                    <a:pt x="562" y="1057"/>
                    <a:pt x="556" y="1059"/>
                    <a:pt x="544" y="1059"/>
                  </a:cubicBezTo>
                  <a:cubicBezTo>
                    <a:pt x="516" y="1059"/>
                    <a:pt x="494" y="1021"/>
                    <a:pt x="494" y="950"/>
                  </a:cubicBezTo>
                  <a:cubicBezTo>
                    <a:pt x="494" y="734"/>
                    <a:pt x="669" y="559"/>
                    <a:pt x="885" y="559"/>
                  </a:cubicBezTo>
                  <a:cubicBezTo>
                    <a:pt x="959" y="559"/>
                    <a:pt x="1016" y="577"/>
                    <a:pt x="1056" y="597"/>
                  </a:cubicBezTo>
                  <a:cubicBezTo>
                    <a:pt x="1065" y="601"/>
                    <a:pt x="1075" y="595"/>
                    <a:pt x="1077" y="585"/>
                  </a:cubicBezTo>
                  <a:cubicBezTo>
                    <a:pt x="1079" y="571"/>
                    <a:pt x="1084" y="553"/>
                    <a:pt x="1089" y="534"/>
                  </a:cubicBezTo>
                  <a:cubicBezTo>
                    <a:pt x="1243" y="609"/>
                    <a:pt x="1349" y="768"/>
                    <a:pt x="1349" y="950"/>
                  </a:cubicBezTo>
                  <a:cubicBezTo>
                    <a:pt x="1349" y="974"/>
                    <a:pt x="1347" y="998"/>
                    <a:pt x="1343" y="1021"/>
                  </a:cubicBezTo>
                  <a:cubicBezTo>
                    <a:pt x="1328" y="1014"/>
                    <a:pt x="1314" y="1005"/>
                    <a:pt x="1299" y="996"/>
                  </a:cubicBezTo>
                  <a:cubicBezTo>
                    <a:pt x="1283" y="987"/>
                    <a:pt x="1274" y="994"/>
                    <a:pt x="1272" y="1009"/>
                  </a:cubicBezTo>
                  <a:cubicBezTo>
                    <a:pt x="1244" y="1200"/>
                    <a:pt x="1086" y="1341"/>
                    <a:pt x="894" y="1341"/>
                  </a:cubicBezTo>
                  <a:cubicBezTo>
                    <a:pt x="763" y="1341"/>
                    <a:pt x="691" y="1290"/>
                    <a:pt x="672" y="1250"/>
                  </a:cubicBezTo>
                  <a:cubicBezTo>
                    <a:pt x="662" y="1253"/>
                    <a:pt x="654" y="1262"/>
                    <a:pt x="654" y="1276"/>
                  </a:cubicBezTo>
                  <a:cubicBezTo>
                    <a:pt x="654" y="1300"/>
                    <a:pt x="694" y="1327"/>
                    <a:pt x="721" y="1340"/>
                  </a:cubicBezTo>
                  <a:cubicBezTo>
                    <a:pt x="761" y="1360"/>
                    <a:pt x="815" y="1377"/>
                    <a:pt x="894" y="1377"/>
                  </a:cubicBezTo>
                  <a:cubicBezTo>
                    <a:pt x="1095" y="1377"/>
                    <a:pt x="1261" y="1235"/>
                    <a:pt x="1303" y="1040"/>
                  </a:cubicBezTo>
                  <a:cubicBezTo>
                    <a:pt x="1314" y="1046"/>
                    <a:pt x="1325" y="1052"/>
                    <a:pt x="1337" y="1058"/>
                  </a:cubicBezTo>
                  <a:cubicBezTo>
                    <a:pt x="1290" y="1261"/>
                    <a:pt x="1113" y="1413"/>
                    <a:pt x="895" y="1413"/>
                  </a:cubicBezTo>
                  <a:cubicBezTo>
                    <a:pt x="713" y="1413"/>
                    <a:pt x="621" y="1325"/>
                    <a:pt x="616" y="1296"/>
                  </a:cubicBezTo>
                  <a:cubicBezTo>
                    <a:pt x="602" y="1296"/>
                    <a:pt x="594" y="1307"/>
                    <a:pt x="594" y="1320"/>
                  </a:cubicBezTo>
                  <a:cubicBezTo>
                    <a:pt x="594" y="1335"/>
                    <a:pt x="606" y="1350"/>
                    <a:pt x="619" y="1361"/>
                  </a:cubicBezTo>
                  <a:cubicBezTo>
                    <a:pt x="653" y="1392"/>
                    <a:pt x="738" y="1449"/>
                    <a:pt x="895" y="1449"/>
                  </a:cubicBezTo>
                  <a:cubicBezTo>
                    <a:pt x="1103" y="1449"/>
                    <a:pt x="1277" y="1320"/>
                    <a:pt x="1349" y="1138"/>
                  </a:cubicBezTo>
                  <a:cubicBezTo>
                    <a:pt x="1359" y="1143"/>
                    <a:pt x="1371" y="1147"/>
                    <a:pt x="1382" y="1152"/>
                  </a:cubicBezTo>
                  <a:cubicBezTo>
                    <a:pt x="1304" y="1348"/>
                    <a:pt x="1116" y="1485"/>
                    <a:pt x="894" y="1485"/>
                  </a:cubicBezTo>
                  <a:cubicBezTo>
                    <a:pt x="688" y="1485"/>
                    <a:pt x="549" y="1379"/>
                    <a:pt x="534" y="1297"/>
                  </a:cubicBezTo>
                  <a:cubicBezTo>
                    <a:pt x="522" y="1297"/>
                    <a:pt x="509" y="1308"/>
                    <a:pt x="509" y="1325"/>
                  </a:cubicBezTo>
                  <a:cubicBezTo>
                    <a:pt x="509" y="1338"/>
                    <a:pt x="520" y="1357"/>
                    <a:pt x="523" y="1362"/>
                  </a:cubicBezTo>
                  <a:cubicBezTo>
                    <a:pt x="554" y="1410"/>
                    <a:pt x="665" y="1521"/>
                    <a:pt x="894" y="1521"/>
                  </a:cubicBezTo>
                  <a:cubicBezTo>
                    <a:pt x="1132" y="1521"/>
                    <a:pt x="1334" y="1373"/>
                    <a:pt x="1416" y="1162"/>
                  </a:cubicBezTo>
                  <a:cubicBezTo>
                    <a:pt x="1455" y="1173"/>
                    <a:pt x="1501" y="1179"/>
                    <a:pt x="1557" y="1179"/>
                  </a:cubicBezTo>
                  <a:cubicBezTo>
                    <a:pt x="1928" y="1179"/>
                    <a:pt x="2065" y="901"/>
                    <a:pt x="2089" y="800"/>
                  </a:cubicBezTo>
                  <a:cubicBezTo>
                    <a:pt x="2104" y="734"/>
                    <a:pt x="2096" y="711"/>
                    <a:pt x="2062" y="711"/>
                  </a:cubicBezTo>
                  <a:close/>
                  <a:moveTo>
                    <a:pt x="1002" y="465"/>
                  </a:moveTo>
                  <a:cubicBezTo>
                    <a:pt x="964" y="456"/>
                    <a:pt x="925" y="451"/>
                    <a:pt x="885" y="451"/>
                  </a:cubicBezTo>
                  <a:cubicBezTo>
                    <a:pt x="610" y="451"/>
                    <a:pt x="386" y="675"/>
                    <a:pt x="386" y="950"/>
                  </a:cubicBezTo>
                  <a:cubicBezTo>
                    <a:pt x="386" y="982"/>
                    <a:pt x="388" y="1021"/>
                    <a:pt x="400" y="1055"/>
                  </a:cubicBezTo>
                  <a:cubicBezTo>
                    <a:pt x="364" y="1065"/>
                    <a:pt x="351" y="1028"/>
                    <a:pt x="351" y="984"/>
                  </a:cubicBezTo>
                  <a:cubicBezTo>
                    <a:pt x="351" y="984"/>
                    <a:pt x="351" y="979"/>
                    <a:pt x="351" y="968"/>
                  </a:cubicBezTo>
                  <a:cubicBezTo>
                    <a:pt x="354" y="837"/>
                    <a:pt x="385" y="763"/>
                    <a:pt x="385" y="763"/>
                  </a:cubicBezTo>
                  <a:cubicBezTo>
                    <a:pt x="422" y="661"/>
                    <a:pt x="490" y="577"/>
                    <a:pt x="577" y="514"/>
                  </a:cubicBezTo>
                  <a:cubicBezTo>
                    <a:pt x="667" y="449"/>
                    <a:pt x="774" y="415"/>
                    <a:pt x="885" y="415"/>
                  </a:cubicBezTo>
                  <a:cubicBezTo>
                    <a:pt x="928" y="415"/>
                    <a:pt x="971" y="420"/>
                    <a:pt x="1012" y="430"/>
                  </a:cubicBezTo>
                  <a:cubicBezTo>
                    <a:pt x="1008" y="441"/>
                    <a:pt x="1005" y="453"/>
                    <a:pt x="1002" y="465"/>
                  </a:cubicBezTo>
                  <a:close/>
                  <a:moveTo>
                    <a:pt x="1162" y="535"/>
                  </a:moveTo>
                  <a:cubicBezTo>
                    <a:pt x="1166" y="523"/>
                    <a:pt x="1169" y="511"/>
                    <a:pt x="1173" y="499"/>
                  </a:cubicBezTo>
                  <a:cubicBezTo>
                    <a:pt x="1324" y="595"/>
                    <a:pt x="1421" y="764"/>
                    <a:pt x="1421" y="950"/>
                  </a:cubicBezTo>
                  <a:cubicBezTo>
                    <a:pt x="1421" y="959"/>
                    <a:pt x="1420" y="968"/>
                    <a:pt x="1420" y="978"/>
                  </a:cubicBezTo>
                  <a:cubicBezTo>
                    <a:pt x="1406" y="973"/>
                    <a:pt x="1394" y="969"/>
                    <a:pt x="1384" y="964"/>
                  </a:cubicBezTo>
                  <a:cubicBezTo>
                    <a:pt x="1384" y="960"/>
                    <a:pt x="1384" y="955"/>
                    <a:pt x="1384" y="950"/>
                  </a:cubicBezTo>
                  <a:cubicBezTo>
                    <a:pt x="1384" y="777"/>
                    <a:pt x="1296" y="625"/>
                    <a:pt x="1162" y="53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049364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" userDrawn="1">
          <p15:clr>
            <a:srgbClr val="FBAE40"/>
          </p15:clr>
        </p15:guide>
        <p15:guide id="2" orient="horz" pos="1350" userDrawn="1">
          <p15:clr>
            <a:srgbClr val="FBAE40"/>
          </p15:clr>
        </p15:guide>
        <p15:guide id="3" orient="horz" pos="201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6_Cover_approved_question_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4691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2" imgH="353" progId="TCLayout.ActiveDocument.1">
                  <p:embed/>
                </p:oleObj>
              </mc:Choice>
              <mc:Fallback>
                <p:oleObj name="think-cell Folie" r:id="rId4" imgW="352" imgH="353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2D2DA"/>
          </a:solidFill>
          <a:ln w="12700" cap="sq" cmpd="sng" algn="ctr">
            <a:noFill/>
            <a:prstDash val="solid"/>
            <a:miter lim="800000"/>
            <a:tailEnd type="none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000" b="0" i="0" u="none" strike="noStrike" kern="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grpSp>
        <p:nvGrpSpPr>
          <p:cNvPr id="235" name="Group 234">
            <a:extLst>
              <a:ext uri="{FF2B5EF4-FFF2-40B4-BE49-F238E27FC236}">
                <a16:creationId xmlns:a16="http://schemas.microsoft.com/office/drawing/2014/main" id="{5342E118-6F1D-4C46-956E-4CCCBCAA7952}"/>
              </a:ext>
            </a:extLst>
          </p:cNvPr>
          <p:cNvGrpSpPr/>
          <p:nvPr userDrawn="1"/>
        </p:nvGrpSpPr>
        <p:grpSpPr bwMode="invGray">
          <a:xfrm>
            <a:off x="622940" y="5826612"/>
            <a:ext cx="3878023" cy="570195"/>
            <a:chOff x="498115" y="5951018"/>
            <a:chExt cx="3878023" cy="570195"/>
          </a:xfrm>
        </p:grpSpPr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A22049CA-64AE-409F-988D-A7317F8AD136}"/>
                </a:ext>
              </a:extLst>
            </p:cNvPr>
            <p:cNvSpPr>
              <a:spLocks noChangeArrowheads="1"/>
            </p:cNvSpPr>
            <p:nvPr userDrawn="1"/>
          </p:nvSpPr>
          <p:spPr bwMode="invGray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69" name="Rectangle 6">
              <a:extLst>
                <a:ext uri="{FF2B5EF4-FFF2-40B4-BE49-F238E27FC236}">
                  <a16:creationId xmlns:a16="http://schemas.microsoft.com/office/drawing/2014/main" id="{E37A0A05-0A78-44A7-8873-0A1A20C87175}"/>
                </a:ext>
              </a:extLst>
            </p:cNvPr>
            <p:cNvSpPr>
              <a:spLocks noChangeArrowheads="1"/>
            </p:cNvSpPr>
            <p:nvPr userDrawn="1"/>
          </p:nvSpPr>
          <p:spPr bwMode="invGray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70" name="Rectangle 7">
              <a:extLst>
                <a:ext uri="{FF2B5EF4-FFF2-40B4-BE49-F238E27FC236}">
                  <a16:creationId xmlns:a16="http://schemas.microsoft.com/office/drawing/2014/main" id="{0DEA0CBE-8527-4287-BF98-DA48947875F5}"/>
                </a:ext>
              </a:extLst>
            </p:cNvPr>
            <p:cNvSpPr>
              <a:spLocks noChangeArrowheads="1"/>
            </p:cNvSpPr>
            <p:nvPr userDrawn="1"/>
          </p:nvSpPr>
          <p:spPr bwMode="invGray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71" name="Freeform 8">
              <a:extLst>
                <a:ext uri="{FF2B5EF4-FFF2-40B4-BE49-F238E27FC236}">
                  <a16:creationId xmlns:a16="http://schemas.microsoft.com/office/drawing/2014/main" id="{444058C6-612A-446E-8F68-0E5CC4CFF366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2" name="Freeform 9">
              <a:extLst>
                <a:ext uri="{FF2B5EF4-FFF2-40B4-BE49-F238E27FC236}">
                  <a16:creationId xmlns:a16="http://schemas.microsoft.com/office/drawing/2014/main" id="{1011EC31-E0C3-404F-93B3-EFD3DADC11CB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3" name="Freeform 10">
              <a:extLst>
                <a:ext uri="{FF2B5EF4-FFF2-40B4-BE49-F238E27FC236}">
                  <a16:creationId xmlns:a16="http://schemas.microsoft.com/office/drawing/2014/main" id="{3C9D076B-D88C-4089-8D58-9A31CFCDB02A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4" name="Freeform 11">
              <a:extLst>
                <a:ext uri="{FF2B5EF4-FFF2-40B4-BE49-F238E27FC236}">
                  <a16:creationId xmlns:a16="http://schemas.microsoft.com/office/drawing/2014/main" id="{29DB43AC-B765-4ECB-B483-562473BD4A38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5" name="Freeform 12">
              <a:extLst>
                <a:ext uri="{FF2B5EF4-FFF2-40B4-BE49-F238E27FC236}">
                  <a16:creationId xmlns:a16="http://schemas.microsoft.com/office/drawing/2014/main" id="{AF1DE1B8-EA4B-4A98-A97D-BA5EEA42B197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6" name="Freeform 13">
              <a:extLst>
                <a:ext uri="{FF2B5EF4-FFF2-40B4-BE49-F238E27FC236}">
                  <a16:creationId xmlns:a16="http://schemas.microsoft.com/office/drawing/2014/main" id="{F8F60B79-7AF5-4C5E-A5EF-126F117D591C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7" name="Freeform 14">
              <a:extLst>
                <a:ext uri="{FF2B5EF4-FFF2-40B4-BE49-F238E27FC236}">
                  <a16:creationId xmlns:a16="http://schemas.microsoft.com/office/drawing/2014/main" id="{0A0438AD-9937-4C25-AB9E-7F8C8CCA23F7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8" name="Freeform 15">
              <a:extLst>
                <a:ext uri="{FF2B5EF4-FFF2-40B4-BE49-F238E27FC236}">
                  <a16:creationId xmlns:a16="http://schemas.microsoft.com/office/drawing/2014/main" id="{6FDE2726-7032-4BE4-A420-0ECF49A32A8B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9" name="Freeform 16">
              <a:extLst>
                <a:ext uri="{FF2B5EF4-FFF2-40B4-BE49-F238E27FC236}">
                  <a16:creationId xmlns:a16="http://schemas.microsoft.com/office/drawing/2014/main" id="{50C22C21-F8DB-486D-9042-765D68AE3A7C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0" name="Freeform 17">
              <a:extLst>
                <a:ext uri="{FF2B5EF4-FFF2-40B4-BE49-F238E27FC236}">
                  <a16:creationId xmlns:a16="http://schemas.microsoft.com/office/drawing/2014/main" id="{7F763F72-BB8F-482C-9FDA-40EDD6EE5FF8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1" name="Freeform 18">
              <a:extLst>
                <a:ext uri="{FF2B5EF4-FFF2-40B4-BE49-F238E27FC236}">
                  <a16:creationId xmlns:a16="http://schemas.microsoft.com/office/drawing/2014/main" id="{710F466C-6BEC-4970-9707-40D8002740B0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2" name="Freeform 19">
              <a:extLst>
                <a:ext uri="{FF2B5EF4-FFF2-40B4-BE49-F238E27FC236}">
                  <a16:creationId xmlns:a16="http://schemas.microsoft.com/office/drawing/2014/main" id="{3332407D-F423-41B2-985F-8A4482C61D9E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3" name="Freeform 20">
              <a:extLst>
                <a:ext uri="{FF2B5EF4-FFF2-40B4-BE49-F238E27FC236}">
                  <a16:creationId xmlns:a16="http://schemas.microsoft.com/office/drawing/2014/main" id="{44E3286F-1188-47B1-8B46-3498795DF2DC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4" name="Freeform 21">
              <a:extLst>
                <a:ext uri="{FF2B5EF4-FFF2-40B4-BE49-F238E27FC236}">
                  <a16:creationId xmlns:a16="http://schemas.microsoft.com/office/drawing/2014/main" id="{E7BD9E0B-920A-4409-95E7-40A47107B346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5" name="Freeform 22">
              <a:extLst>
                <a:ext uri="{FF2B5EF4-FFF2-40B4-BE49-F238E27FC236}">
                  <a16:creationId xmlns:a16="http://schemas.microsoft.com/office/drawing/2014/main" id="{9D2625B8-0A5B-46EF-8302-77353AB0D3A9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6" name="Freeform 23">
              <a:extLst>
                <a:ext uri="{FF2B5EF4-FFF2-40B4-BE49-F238E27FC236}">
                  <a16:creationId xmlns:a16="http://schemas.microsoft.com/office/drawing/2014/main" id="{DE6C9E0E-C49B-4FBE-97F3-BB6DFAC57421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7" name="Freeform 24">
              <a:extLst>
                <a:ext uri="{FF2B5EF4-FFF2-40B4-BE49-F238E27FC236}">
                  <a16:creationId xmlns:a16="http://schemas.microsoft.com/office/drawing/2014/main" id="{580801ED-9260-41DB-A0B7-5AF24B32272B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8" name="Freeform 25">
              <a:extLst>
                <a:ext uri="{FF2B5EF4-FFF2-40B4-BE49-F238E27FC236}">
                  <a16:creationId xmlns:a16="http://schemas.microsoft.com/office/drawing/2014/main" id="{3A9842FB-6E95-4D11-B5B9-58C4CB82C2FE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9" name="Freeform 26">
              <a:extLst>
                <a:ext uri="{FF2B5EF4-FFF2-40B4-BE49-F238E27FC236}">
                  <a16:creationId xmlns:a16="http://schemas.microsoft.com/office/drawing/2014/main" id="{076538BB-C266-42BE-916B-458AF9EFB224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0" name="Freeform 27">
              <a:extLst>
                <a:ext uri="{FF2B5EF4-FFF2-40B4-BE49-F238E27FC236}">
                  <a16:creationId xmlns:a16="http://schemas.microsoft.com/office/drawing/2014/main" id="{A7C95C0F-A1E9-46B5-B9DB-284F35C72801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1" name="Freeform 28">
              <a:extLst>
                <a:ext uri="{FF2B5EF4-FFF2-40B4-BE49-F238E27FC236}">
                  <a16:creationId xmlns:a16="http://schemas.microsoft.com/office/drawing/2014/main" id="{BEEA6186-B2B9-4E5E-9631-B6332C7FDBA3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2" name="Freeform 29">
              <a:extLst>
                <a:ext uri="{FF2B5EF4-FFF2-40B4-BE49-F238E27FC236}">
                  <a16:creationId xmlns:a16="http://schemas.microsoft.com/office/drawing/2014/main" id="{E9B00A5D-BE04-4D7D-B4A2-204E2D0E0485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3" name="Freeform 30">
              <a:extLst>
                <a:ext uri="{FF2B5EF4-FFF2-40B4-BE49-F238E27FC236}">
                  <a16:creationId xmlns:a16="http://schemas.microsoft.com/office/drawing/2014/main" id="{72C85502-C007-49A3-A8AB-2BCC8C53945F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4" name="Freeform 31">
              <a:extLst>
                <a:ext uri="{FF2B5EF4-FFF2-40B4-BE49-F238E27FC236}">
                  <a16:creationId xmlns:a16="http://schemas.microsoft.com/office/drawing/2014/main" id="{9A42586B-B388-4323-82EB-ED3423EDC5DE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5" name="Freeform 32">
              <a:extLst>
                <a:ext uri="{FF2B5EF4-FFF2-40B4-BE49-F238E27FC236}">
                  <a16:creationId xmlns:a16="http://schemas.microsoft.com/office/drawing/2014/main" id="{558D2F0C-3796-492F-9EBD-4BB822191F30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6" name="Freeform 33">
              <a:extLst>
                <a:ext uri="{FF2B5EF4-FFF2-40B4-BE49-F238E27FC236}">
                  <a16:creationId xmlns:a16="http://schemas.microsoft.com/office/drawing/2014/main" id="{DE4E3633-17EF-414F-A86D-0B6A9F2F098F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7" name="Freeform 34">
              <a:extLst>
                <a:ext uri="{FF2B5EF4-FFF2-40B4-BE49-F238E27FC236}">
                  <a16:creationId xmlns:a16="http://schemas.microsoft.com/office/drawing/2014/main" id="{2572AE39-9386-47FC-B6AF-FBCF804BEBF8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8" name="Freeform 35">
              <a:extLst>
                <a:ext uri="{FF2B5EF4-FFF2-40B4-BE49-F238E27FC236}">
                  <a16:creationId xmlns:a16="http://schemas.microsoft.com/office/drawing/2014/main" id="{7096AEC6-B8C0-4212-842F-89677AE7D800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9" name="Freeform 36">
              <a:extLst>
                <a:ext uri="{FF2B5EF4-FFF2-40B4-BE49-F238E27FC236}">
                  <a16:creationId xmlns:a16="http://schemas.microsoft.com/office/drawing/2014/main" id="{406AD873-E434-40CF-BFBD-6D1D1CA7CB89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0" name="Freeform 37">
              <a:extLst>
                <a:ext uri="{FF2B5EF4-FFF2-40B4-BE49-F238E27FC236}">
                  <a16:creationId xmlns:a16="http://schemas.microsoft.com/office/drawing/2014/main" id="{74857EE2-44CC-4E8F-B1BB-355509B3EFE5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1" name="Freeform 38">
              <a:extLst>
                <a:ext uri="{FF2B5EF4-FFF2-40B4-BE49-F238E27FC236}">
                  <a16:creationId xmlns:a16="http://schemas.microsoft.com/office/drawing/2014/main" id="{D39EC8B1-952E-4BF5-9735-6A38584161BC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2" name="Freeform 39">
              <a:extLst>
                <a:ext uri="{FF2B5EF4-FFF2-40B4-BE49-F238E27FC236}">
                  <a16:creationId xmlns:a16="http://schemas.microsoft.com/office/drawing/2014/main" id="{EA37D3DF-3401-44BD-97F4-F423BFC87A10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3" name="Freeform 40">
              <a:extLst>
                <a:ext uri="{FF2B5EF4-FFF2-40B4-BE49-F238E27FC236}">
                  <a16:creationId xmlns:a16="http://schemas.microsoft.com/office/drawing/2014/main" id="{7DFA4B46-95EA-4D4D-800F-4D2DB7BB66E0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4" name="Freeform 41">
              <a:extLst>
                <a:ext uri="{FF2B5EF4-FFF2-40B4-BE49-F238E27FC236}">
                  <a16:creationId xmlns:a16="http://schemas.microsoft.com/office/drawing/2014/main" id="{EF5012BA-3255-4BEF-8F4F-9117A6BEF324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5" name="Freeform 42">
              <a:extLst>
                <a:ext uri="{FF2B5EF4-FFF2-40B4-BE49-F238E27FC236}">
                  <a16:creationId xmlns:a16="http://schemas.microsoft.com/office/drawing/2014/main" id="{223989A0-E246-4806-AF7E-9D6C2B1DD489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6" name="Freeform 43">
              <a:extLst>
                <a:ext uri="{FF2B5EF4-FFF2-40B4-BE49-F238E27FC236}">
                  <a16:creationId xmlns:a16="http://schemas.microsoft.com/office/drawing/2014/main" id="{5FED967A-F1ED-4489-A689-A9A49A278085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7" name="Freeform 44">
              <a:extLst>
                <a:ext uri="{FF2B5EF4-FFF2-40B4-BE49-F238E27FC236}">
                  <a16:creationId xmlns:a16="http://schemas.microsoft.com/office/drawing/2014/main" id="{DA362954-FE74-40B7-AB98-CC8AC60FFC8D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8" name="Freeform 45">
              <a:extLst>
                <a:ext uri="{FF2B5EF4-FFF2-40B4-BE49-F238E27FC236}">
                  <a16:creationId xmlns:a16="http://schemas.microsoft.com/office/drawing/2014/main" id="{C1C7EF3F-CB28-4C69-901C-8F9F09C5B597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9" name="Freeform 46">
              <a:extLst>
                <a:ext uri="{FF2B5EF4-FFF2-40B4-BE49-F238E27FC236}">
                  <a16:creationId xmlns:a16="http://schemas.microsoft.com/office/drawing/2014/main" id="{80D5AA14-D31C-42E8-B89F-2FCABF204007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0" name="Freeform 47">
              <a:extLst>
                <a:ext uri="{FF2B5EF4-FFF2-40B4-BE49-F238E27FC236}">
                  <a16:creationId xmlns:a16="http://schemas.microsoft.com/office/drawing/2014/main" id="{3894EB82-A456-47F8-BB06-FE894AF4B86B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1" name="Freeform 48">
              <a:extLst>
                <a:ext uri="{FF2B5EF4-FFF2-40B4-BE49-F238E27FC236}">
                  <a16:creationId xmlns:a16="http://schemas.microsoft.com/office/drawing/2014/main" id="{A88F5C3F-FAE1-4A50-86D3-E9A1CAA89A96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2" name="Freeform 49">
              <a:extLst>
                <a:ext uri="{FF2B5EF4-FFF2-40B4-BE49-F238E27FC236}">
                  <a16:creationId xmlns:a16="http://schemas.microsoft.com/office/drawing/2014/main" id="{1EFCBDA7-FA42-4391-9872-95EB6DDEA684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3" name="Freeform 50">
              <a:extLst>
                <a:ext uri="{FF2B5EF4-FFF2-40B4-BE49-F238E27FC236}">
                  <a16:creationId xmlns:a16="http://schemas.microsoft.com/office/drawing/2014/main" id="{721D8C30-DB23-4A0B-8A74-BC467086477D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4" name="Freeform 51">
              <a:extLst>
                <a:ext uri="{FF2B5EF4-FFF2-40B4-BE49-F238E27FC236}">
                  <a16:creationId xmlns:a16="http://schemas.microsoft.com/office/drawing/2014/main" id="{01AD00CA-8BC7-4B62-AC64-03851855A7AE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5" name="Freeform 52">
              <a:extLst>
                <a:ext uri="{FF2B5EF4-FFF2-40B4-BE49-F238E27FC236}">
                  <a16:creationId xmlns:a16="http://schemas.microsoft.com/office/drawing/2014/main" id="{BC957590-E3D7-48BF-A1DF-73DCD7673857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6" name="Freeform 53">
              <a:extLst>
                <a:ext uri="{FF2B5EF4-FFF2-40B4-BE49-F238E27FC236}">
                  <a16:creationId xmlns:a16="http://schemas.microsoft.com/office/drawing/2014/main" id="{9BC2125B-AF0E-4411-AFA7-3F79B873BFBA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7" name="Freeform 54">
              <a:extLst>
                <a:ext uri="{FF2B5EF4-FFF2-40B4-BE49-F238E27FC236}">
                  <a16:creationId xmlns:a16="http://schemas.microsoft.com/office/drawing/2014/main" id="{1E5BE33C-9675-423A-802C-0A789DB1851B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8" name="Freeform 55">
              <a:extLst>
                <a:ext uri="{FF2B5EF4-FFF2-40B4-BE49-F238E27FC236}">
                  <a16:creationId xmlns:a16="http://schemas.microsoft.com/office/drawing/2014/main" id="{FB04A8AC-9DA2-4FB3-985A-DD8E6439135C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9" name="Freeform 56">
              <a:extLst>
                <a:ext uri="{FF2B5EF4-FFF2-40B4-BE49-F238E27FC236}">
                  <a16:creationId xmlns:a16="http://schemas.microsoft.com/office/drawing/2014/main" id="{F365BB87-C861-4F40-A844-477BAA1EAA55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0" name="Freeform 57">
              <a:extLst>
                <a:ext uri="{FF2B5EF4-FFF2-40B4-BE49-F238E27FC236}">
                  <a16:creationId xmlns:a16="http://schemas.microsoft.com/office/drawing/2014/main" id="{8B7E2806-AAFA-45B5-B801-55C79A927799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1" name="Freeform 58">
              <a:extLst>
                <a:ext uri="{FF2B5EF4-FFF2-40B4-BE49-F238E27FC236}">
                  <a16:creationId xmlns:a16="http://schemas.microsoft.com/office/drawing/2014/main" id="{7A49B80F-B4C0-4F31-9238-8123D3E20D16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2" name="Freeform 59">
              <a:extLst>
                <a:ext uri="{FF2B5EF4-FFF2-40B4-BE49-F238E27FC236}">
                  <a16:creationId xmlns:a16="http://schemas.microsoft.com/office/drawing/2014/main" id="{9C60C45F-865F-4118-A4B0-174C696B472F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3" name="Freeform 60">
              <a:extLst>
                <a:ext uri="{FF2B5EF4-FFF2-40B4-BE49-F238E27FC236}">
                  <a16:creationId xmlns:a16="http://schemas.microsoft.com/office/drawing/2014/main" id="{15FBF980-B96C-472B-A46B-A731CA164E92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4" name="Freeform 61">
              <a:extLst>
                <a:ext uri="{FF2B5EF4-FFF2-40B4-BE49-F238E27FC236}">
                  <a16:creationId xmlns:a16="http://schemas.microsoft.com/office/drawing/2014/main" id="{64F1DD18-05EE-4F9F-9E6B-E03C4C500F21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5" name="Freeform 62">
              <a:extLst>
                <a:ext uri="{FF2B5EF4-FFF2-40B4-BE49-F238E27FC236}">
                  <a16:creationId xmlns:a16="http://schemas.microsoft.com/office/drawing/2014/main" id="{6051CC00-BFF2-4334-9855-62AD588546F7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6" name="Freeform 63">
              <a:extLst>
                <a:ext uri="{FF2B5EF4-FFF2-40B4-BE49-F238E27FC236}">
                  <a16:creationId xmlns:a16="http://schemas.microsoft.com/office/drawing/2014/main" id="{905DD261-B224-46ED-8CEE-E8D180BA4B72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7" name="Freeform 64">
              <a:extLst>
                <a:ext uri="{FF2B5EF4-FFF2-40B4-BE49-F238E27FC236}">
                  <a16:creationId xmlns:a16="http://schemas.microsoft.com/office/drawing/2014/main" id="{A23129DF-0296-4CA9-9723-124682F0A70E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8" name="Freeform 65">
              <a:extLst>
                <a:ext uri="{FF2B5EF4-FFF2-40B4-BE49-F238E27FC236}">
                  <a16:creationId xmlns:a16="http://schemas.microsoft.com/office/drawing/2014/main" id="{A2A2BF8E-DA3A-4AC0-B7EB-7CAABFC9E699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9" name="Freeform 66">
              <a:extLst>
                <a:ext uri="{FF2B5EF4-FFF2-40B4-BE49-F238E27FC236}">
                  <a16:creationId xmlns:a16="http://schemas.microsoft.com/office/drawing/2014/main" id="{BEBFC1A4-92B9-418F-A0A9-2E210A37BCFF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30" name="Freeform 67">
              <a:extLst>
                <a:ext uri="{FF2B5EF4-FFF2-40B4-BE49-F238E27FC236}">
                  <a16:creationId xmlns:a16="http://schemas.microsoft.com/office/drawing/2014/main" id="{A28B9FD0-8354-4DD6-856A-157C5F8768EB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31" name="Freeform 68">
              <a:extLst>
                <a:ext uri="{FF2B5EF4-FFF2-40B4-BE49-F238E27FC236}">
                  <a16:creationId xmlns:a16="http://schemas.microsoft.com/office/drawing/2014/main" id="{83D3DEEE-A610-48BE-BADD-6BA188B5B86D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32" name="Freeform 69">
              <a:extLst>
                <a:ext uri="{FF2B5EF4-FFF2-40B4-BE49-F238E27FC236}">
                  <a16:creationId xmlns:a16="http://schemas.microsoft.com/office/drawing/2014/main" id="{463C7ADB-C654-4D24-9055-0B6003A770A3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33" name="Freeform 70">
              <a:extLst>
                <a:ext uri="{FF2B5EF4-FFF2-40B4-BE49-F238E27FC236}">
                  <a16:creationId xmlns:a16="http://schemas.microsoft.com/office/drawing/2014/main" id="{40CF3793-E792-4DB3-8064-4B43F4706A3D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  <p:sp>
        <p:nvSpPr>
          <p:cNvPr id="18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1069705" y="2158329"/>
            <a:ext cx="4808220" cy="860400"/>
          </a:xfrm>
          <a:prstGeom prst="rect">
            <a:avLst/>
          </a:prstGeo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9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1069975" y="3200329"/>
            <a:ext cx="4807950" cy="64574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44A731D0-020D-4D8E-955D-2354AF0FE452}"/>
              </a:ext>
            </a:extLst>
          </p:cNvPr>
          <p:cNvSpPr/>
          <p:nvPr userDrawn="1"/>
        </p:nvSpPr>
        <p:spPr>
          <a:xfrm>
            <a:off x="614191" y="723658"/>
            <a:ext cx="5680945" cy="3452894"/>
          </a:xfrm>
          <a:custGeom>
            <a:avLst/>
            <a:gdLst>
              <a:gd name="connsiteX0" fmla="*/ 8749 w 5680945"/>
              <a:gd name="connsiteY0" fmla="*/ 1021520 h 3452894"/>
              <a:gd name="connsiteX1" fmla="*/ 8749 w 5680945"/>
              <a:gd name="connsiteY1" fmla="*/ 3164181 h 3452894"/>
              <a:gd name="connsiteX2" fmla="*/ 151414 w 5680945"/>
              <a:gd name="connsiteY2" fmla="*/ 3164181 h 3452894"/>
              <a:gd name="connsiteX3" fmla="*/ 151414 w 5680945"/>
              <a:gd name="connsiteY3" fmla="*/ 1140155 h 3452894"/>
              <a:gd name="connsiteX4" fmla="*/ 5534897 w 5680945"/>
              <a:gd name="connsiteY4" fmla="*/ 179294 h 3452894"/>
              <a:gd name="connsiteX5" fmla="*/ 5534897 w 5680945"/>
              <a:gd name="connsiteY5" fmla="*/ 3306846 h 3452894"/>
              <a:gd name="connsiteX6" fmla="*/ 864624 w 5680945"/>
              <a:gd name="connsiteY6" fmla="*/ 3306846 h 3452894"/>
              <a:gd name="connsiteX7" fmla="*/ 864624 w 5680945"/>
              <a:gd name="connsiteY7" fmla="*/ 3449395 h 3452894"/>
              <a:gd name="connsiteX8" fmla="*/ 5677562 w 5680945"/>
              <a:gd name="connsiteY8" fmla="*/ 3449395 h 3452894"/>
              <a:gd name="connsiteX9" fmla="*/ 5677562 w 5680945"/>
              <a:gd name="connsiteY9" fmla="*/ 8749 h 3452894"/>
              <a:gd name="connsiteX10" fmla="*/ 8749 w 5680945"/>
              <a:gd name="connsiteY10" fmla="*/ 1021520 h 3452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680945" h="3452894">
                <a:moveTo>
                  <a:pt x="8749" y="1021520"/>
                </a:moveTo>
                <a:lnTo>
                  <a:pt x="8749" y="3164181"/>
                </a:lnTo>
                <a:lnTo>
                  <a:pt x="151414" y="3164181"/>
                </a:lnTo>
                <a:lnTo>
                  <a:pt x="151414" y="1140155"/>
                </a:lnTo>
                <a:lnTo>
                  <a:pt x="5534897" y="179294"/>
                </a:lnTo>
                <a:lnTo>
                  <a:pt x="5534897" y="3306846"/>
                </a:lnTo>
                <a:lnTo>
                  <a:pt x="864624" y="3306846"/>
                </a:lnTo>
                <a:lnTo>
                  <a:pt x="864624" y="3449395"/>
                </a:lnTo>
                <a:lnTo>
                  <a:pt x="5677562" y="3449395"/>
                </a:lnTo>
                <a:lnTo>
                  <a:pt x="5677562" y="8749"/>
                </a:lnTo>
                <a:lnTo>
                  <a:pt x="8749" y="1021520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noProof="0" dirty="0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15324C54-B75E-4AC0-90C2-FA558C7716F7}"/>
              </a:ext>
            </a:extLst>
          </p:cNvPr>
          <p:cNvSpPr/>
          <p:nvPr/>
        </p:nvSpPr>
        <p:spPr>
          <a:xfrm>
            <a:off x="614191" y="4021755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noProof="0" dirty="0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CAA95478-C099-485F-AD95-A617656C6C7C}"/>
              </a:ext>
            </a:extLst>
          </p:cNvPr>
          <p:cNvSpPr/>
          <p:nvPr/>
        </p:nvSpPr>
        <p:spPr>
          <a:xfrm>
            <a:off x="899522" y="4021755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noProof="0" dirty="0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D65680A1-86D1-44C2-AA38-0DF5735F1F26}"/>
              </a:ext>
            </a:extLst>
          </p:cNvPr>
          <p:cNvSpPr/>
          <p:nvPr/>
        </p:nvSpPr>
        <p:spPr>
          <a:xfrm>
            <a:off x="1184735" y="4021755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noProof="0" dirty="0"/>
          </a:p>
        </p:txBody>
      </p:sp>
      <p:grpSp>
        <p:nvGrpSpPr>
          <p:cNvPr id="76" name="Group 4">
            <a:extLst>
              <a:ext uri="{FF2B5EF4-FFF2-40B4-BE49-F238E27FC236}">
                <a16:creationId xmlns:a16="http://schemas.microsoft.com/office/drawing/2014/main" id="{9D60B6B0-F7ED-4B9F-A77C-632AC4EA661D}"/>
              </a:ext>
            </a:extLst>
          </p:cNvPr>
          <p:cNvGrpSpPr>
            <a:grpSpLocks noChangeAspect="1"/>
          </p:cNvGrpSpPr>
          <p:nvPr userDrawn="1"/>
        </p:nvGrpSpPr>
        <p:grpSpPr bwMode="invGray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77" name="Freeform 5">
              <a:extLst>
                <a:ext uri="{FF2B5EF4-FFF2-40B4-BE49-F238E27FC236}">
                  <a16:creationId xmlns:a16="http://schemas.microsoft.com/office/drawing/2014/main" id="{CC1B45B9-64DF-4C5B-9711-FA69AD537071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78" name="Freeform 6">
              <a:extLst>
                <a:ext uri="{FF2B5EF4-FFF2-40B4-BE49-F238E27FC236}">
                  <a16:creationId xmlns:a16="http://schemas.microsoft.com/office/drawing/2014/main" id="{BA55CB73-EE25-43B6-9720-855E16C4B153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</p:grpSp>
      <p:sp>
        <p:nvSpPr>
          <p:cNvPr id="80" name="Rectangle 9">
            <a:extLst>
              <a:ext uri="{FF2B5EF4-FFF2-40B4-BE49-F238E27FC236}">
                <a16:creationId xmlns:a16="http://schemas.microsoft.com/office/drawing/2014/main" id="{F314F876-941A-40CD-B64C-56E5901EC54D}"/>
              </a:ext>
            </a:extLst>
          </p:cNvPr>
          <p:cNvSpPr/>
          <p:nvPr userDrawn="1"/>
        </p:nvSpPr>
        <p:spPr>
          <a:xfrm>
            <a:off x="-2054226" y="-8465"/>
            <a:ext cx="1952299" cy="2446866"/>
          </a:xfrm>
          <a:prstGeom prst="rect">
            <a:avLst/>
          </a:pr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3972" tIns="53972" rIns="53972" bIns="53972" rtlCol="0" anchor="t" anchorCtr="0"/>
          <a:lstStyle/>
          <a:p>
            <a:pPr>
              <a:spcAft>
                <a:spcPts val="0"/>
              </a:spcAft>
            </a:pPr>
            <a:r>
              <a:rPr lang="en-US" sz="1200" b="1" dirty="0">
                <a:solidFill>
                  <a:srgbClr val="000000"/>
                </a:solidFill>
                <a:latin typeface="EYInterstate Light" panose="02000506000000020004" pitchFamily="2" charset="0"/>
              </a:rPr>
              <a:t>INSTRUCTIONS:</a:t>
            </a:r>
            <a:br>
              <a:rPr lang="en-US" sz="1200" b="1" dirty="0">
                <a:solidFill>
                  <a:srgbClr val="000000"/>
                </a:solidFill>
                <a:latin typeface="EYInterstate Light" panose="02000506000000020004" pitchFamily="2" charset="0"/>
              </a:rPr>
            </a:br>
            <a:r>
              <a:rPr lang="en-US" sz="1200" dirty="0">
                <a:solidFill>
                  <a:srgbClr val="000000"/>
                </a:solidFill>
              </a:rPr>
              <a:t>In order to use this frame cover template, </a:t>
            </a:r>
            <a:br>
              <a:rPr lang="en-US" sz="1200" dirty="0">
                <a:solidFill>
                  <a:srgbClr val="000000"/>
                </a:solidFill>
              </a:rPr>
            </a:br>
            <a:r>
              <a:rPr lang="en-US" sz="1200" dirty="0">
                <a:solidFill>
                  <a:srgbClr val="000000"/>
                </a:solidFill>
              </a:rPr>
              <a:t>an approved EY better question is required. See </a:t>
            </a:r>
            <a:r>
              <a:rPr lang="en-US" sz="1200" u="sng" dirty="0">
                <a:solidFill>
                  <a:srgbClr val="0563C1"/>
                </a:solidFill>
                <a:ea typeface="Calibri" panose="020F0502020204030204" pitchFamily="34" charset="0"/>
                <a:hlinkClick r:id="rId6"/>
              </a:rPr>
              <a:t>http://brandingzone.ey.net/national/bzcontest.nsf/controldocview/BetterQuestions/$file/fullpage.html#firstPage</a:t>
            </a:r>
            <a:r>
              <a:rPr lang="en-US" sz="1200" dirty="0">
                <a:ea typeface="Calibri" panose="020F0502020204030204" pitchFamily="34" charset="0"/>
              </a:rPr>
              <a:t> </a:t>
            </a:r>
            <a:r>
              <a:rPr lang="en-US" sz="1200" dirty="0">
                <a:solidFill>
                  <a:srgbClr val="000000"/>
                </a:solidFill>
              </a:rPr>
              <a:t>for information on how to formulate better questions.</a:t>
            </a:r>
            <a:endParaRPr lang="de-DE" sz="1200" dirty="0">
              <a:solidFill>
                <a:srgbClr val="000000"/>
              </a:solidFill>
            </a:endParaRPr>
          </a:p>
        </p:txBody>
      </p:sp>
      <p:grpSp>
        <p:nvGrpSpPr>
          <p:cNvPr id="79" name="Gruppieren 78"/>
          <p:cNvGrpSpPr/>
          <p:nvPr userDrawn="1"/>
        </p:nvGrpSpPr>
        <p:grpSpPr bwMode="invGray">
          <a:xfrm>
            <a:off x="9713775" y="440057"/>
            <a:ext cx="1868402" cy="962657"/>
            <a:chOff x="9731769" y="638177"/>
            <a:chExt cx="2017456" cy="1039454"/>
          </a:xfrm>
        </p:grpSpPr>
        <p:sp>
          <p:nvSpPr>
            <p:cNvPr id="81" name="Freeform 5">
              <a:extLst>
                <a:ext uri="{FF2B5EF4-FFF2-40B4-BE49-F238E27FC236}">
                  <a16:creationId xmlns:a16="http://schemas.microsoft.com/office/drawing/2014/main" id="{8A9BDB58-231B-4B70-8059-20CAA94E9F64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9731769" y="1406980"/>
              <a:ext cx="19613" cy="91524"/>
            </a:xfrm>
            <a:custGeom>
              <a:avLst/>
              <a:gdLst>
                <a:gd name="T0" fmla="*/ 29 w 29"/>
                <a:gd name="T1" fmla="*/ 14 h 134"/>
                <a:gd name="T2" fmla="*/ 28 w 29"/>
                <a:gd name="T3" fmla="*/ 20 h 134"/>
                <a:gd name="T4" fmla="*/ 25 w 29"/>
                <a:gd name="T5" fmla="*/ 25 h 134"/>
                <a:gd name="T6" fmla="*/ 20 w 29"/>
                <a:gd name="T7" fmla="*/ 28 h 134"/>
                <a:gd name="T8" fmla="*/ 15 w 29"/>
                <a:gd name="T9" fmla="*/ 29 h 134"/>
                <a:gd name="T10" fmla="*/ 9 w 29"/>
                <a:gd name="T11" fmla="*/ 28 h 134"/>
                <a:gd name="T12" fmla="*/ 5 w 29"/>
                <a:gd name="T13" fmla="*/ 25 h 134"/>
                <a:gd name="T14" fmla="*/ 1 w 29"/>
                <a:gd name="T15" fmla="*/ 20 h 134"/>
                <a:gd name="T16" fmla="*/ 0 w 29"/>
                <a:gd name="T17" fmla="*/ 14 h 134"/>
                <a:gd name="T18" fmla="*/ 1 w 29"/>
                <a:gd name="T19" fmla="*/ 9 h 134"/>
                <a:gd name="T20" fmla="*/ 5 w 29"/>
                <a:gd name="T21" fmla="*/ 4 h 134"/>
                <a:gd name="T22" fmla="*/ 9 w 29"/>
                <a:gd name="T23" fmla="*/ 1 h 134"/>
                <a:gd name="T24" fmla="*/ 15 w 29"/>
                <a:gd name="T25" fmla="*/ 0 h 134"/>
                <a:gd name="T26" fmla="*/ 20 w 29"/>
                <a:gd name="T27" fmla="*/ 1 h 134"/>
                <a:gd name="T28" fmla="*/ 25 w 29"/>
                <a:gd name="T29" fmla="*/ 4 h 134"/>
                <a:gd name="T30" fmla="*/ 28 w 29"/>
                <a:gd name="T31" fmla="*/ 9 h 134"/>
                <a:gd name="T32" fmla="*/ 29 w 29"/>
                <a:gd name="T33" fmla="*/ 14 h 134"/>
                <a:gd name="T34" fmla="*/ 2 w 29"/>
                <a:gd name="T35" fmla="*/ 134 h 134"/>
                <a:gd name="T36" fmla="*/ 2 w 29"/>
                <a:gd name="T37" fmla="*/ 37 h 134"/>
                <a:gd name="T38" fmla="*/ 28 w 29"/>
                <a:gd name="T39" fmla="*/ 37 h 134"/>
                <a:gd name="T40" fmla="*/ 28 w 29"/>
                <a:gd name="T41" fmla="*/ 134 h 134"/>
                <a:gd name="T42" fmla="*/ 2 w 29"/>
                <a:gd name="T43" fmla="*/ 134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9" h="134">
                  <a:moveTo>
                    <a:pt x="29" y="14"/>
                  </a:moveTo>
                  <a:cubicBezTo>
                    <a:pt x="29" y="16"/>
                    <a:pt x="29" y="18"/>
                    <a:pt x="28" y="20"/>
                  </a:cubicBezTo>
                  <a:cubicBezTo>
                    <a:pt x="28" y="22"/>
                    <a:pt x="26" y="23"/>
                    <a:pt x="25" y="25"/>
                  </a:cubicBezTo>
                  <a:cubicBezTo>
                    <a:pt x="24" y="26"/>
                    <a:pt x="22" y="27"/>
                    <a:pt x="20" y="28"/>
                  </a:cubicBezTo>
                  <a:cubicBezTo>
                    <a:pt x="19" y="29"/>
                    <a:pt x="17" y="29"/>
                    <a:pt x="15" y="29"/>
                  </a:cubicBezTo>
                  <a:cubicBezTo>
                    <a:pt x="13" y="29"/>
                    <a:pt x="11" y="29"/>
                    <a:pt x="9" y="28"/>
                  </a:cubicBezTo>
                  <a:cubicBezTo>
                    <a:pt x="7" y="27"/>
                    <a:pt x="6" y="26"/>
                    <a:pt x="5" y="25"/>
                  </a:cubicBezTo>
                  <a:cubicBezTo>
                    <a:pt x="3" y="23"/>
                    <a:pt x="2" y="22"/>
                    <a:pt x="1" y="20"/>
                  </a:cubicBezTo>
                  <a:cubicBezTo>
                    <a:pt x="1" y="18"/>
                    <a:pt x="0" y="16"/>
                    <a:pt x="0" y="14"/>
                  </a:cubicBezTo>
                  <a:cubicBezTo>
                    <a:pt x="0" y="12"/>
                    <a:pt x="1" y="11"/>
                    <a:pt x="1" y="9"/>
                  </a:cubicBezTo>
                  <a:cubicBezTo>
                    <a:pt x="2" y="7"/>
                    <a:pt x="3" y="5"/>
                    <a:pt x="5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2" y="2"/>
                    <a:pt x="24" y="3"/>
                    <a:pt x="25" y="4"/>
                  </a:cubicBezTo>
                  <a:cubicBezTo>
                    <a:pt x="26" y="5"/>
                    <a:pt x="28" y="7"/>
                    <a:pt x="28" y="9"/>
                  </a:cubicBezTo>
                  <a:cubicBezTo>
                    <a:pt x="29" y="11"/>
                    <a:pt x="29" y="12"/>
                    <a:pt x="29" y="14"/>
                  </a:cubicBezTo>
                  <a:close/>
                  <a:moveTo>
                    <a:pt x="2" y="134"/>
                  </a:moveTo>
                  <a:cubicBezTo>
                    <a:pt x="2" y="37"/>
                    <a:pt x="2" y="37"/>
                    <a:pt x="2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134"/>
                    <a:pt x="28" y="134"/>
                    <a:pt x="28" y="134"/>
                  </a:cubicBezTo>
                  <a:lnTo>
                    <a:pt x="2" y="1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82" name="Freeform 6">
              <a:extLst>
                <a:ext uri="{FF2B5EF4-FFF2-40B4-BE49-F238E27FC236}">
                  <a16:creationId xmlns:a16="http://schemas.microsoft.com/office/drawing/2014/main" id="{97DAE07B-DE87-4358-BA44-6531EF3573CD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9767071" y="1430515"/>
              <a:ext cx="58837" cy="67989"/>
            </a:xfrm>
            <a:custGeom>
              <a:avLst/>
              <a:gdLst>
                <a:gd name="T0" fmla="*/ 59 w 85"/>
                <a:gd name="T1" fmla="*/ 99 h 99"/>
                <a:gd name="T2" fmla="*/ 59 w 85"/>
                <a:gd name="T3" fmla="*/ 47 h 99"/>
                <a:gd name="T4" fmla="*/ 55 w 85"/>
                <a:gd name="T5" fmla="*/ 30 h 99"/>
                <a:gd name="T6" fmla="*/ 43 w 85"/>
                <a:gd name="T7" fmla="*/ 24 h 99"/>
                <a:gd name="T8" fmla="*/ 35 w 85"/>
                <a:gd name="T9" fmla="*/ 25 h 99"/>
                <a:gd name="T10" fmla="*/ 30 w 85"/>
                <a:gd name="T11" fmla="*/ 29 h 99"/>
                <a:gd name="T12" fmla="*/ 27 w 85"/>
                <a:gd name="T13" fmla="*/ 35 h 99"/>
                <a:gd name="T14" fmla="*/ 26 w 85"/>
                <a:gd name="T15" fmla="*/ 46 h 99"/>
                <a:gd name="T16" fmla="*/ 26 w 85"/>
                <a:gd name="T17" fmla="*/ 99 h 99"/>
                <a:gd name="T18" fmla="*/ 0 w 85"/>
                <a:gd name="T19" fmla="*/ 99 h 99"/>
                <a:gd name="T20" fmla="*/ 0 w 85"/>
                <a:gd name="T21" fmla="*/ 2 h 99"/>
                <a:gd name="T22" fmla="*/ 26 w 85"/>
                <a:gd name="T23" fmla="*/ 2 h 99"/>
                <a:gd name="T24" fmla="*/ 26 w 85"/>
                <a:gd name="T25" fmla="*/ 8 h 99"/>
                <a:gd name="T26" fmla="*/ 30 w 85"/>
                <a:gd name="T27" fmla="*/ 5 h 99"/>
                <a:gd name="T28" fmla="*/ 35 w 85"/>
                <a:gd name="T29" fmla="*/ 2 h 99"/>
                <a:gd name="T30" fmla="*/ 42 w 85"/>
                <a:gd name="T31" fmla="*/ 1 h 99"/>
                <a:gd name="T32" fmla="*/ 49 w 85"/>
                <a:gd name="T33" fmla="*/ 0 h 99"/>
                <a:gd name="T34" fmla="*/ 65 w 85"/>
                <a:gd name="T35" fmla="*/ 3 h 99"/>
                <a:gd name="T36" fmla="*/ 76 w 85"/>
                <a:gd name="T37" fmla="*/ 12 h 99"/>
                <a:gd name="T38" fmla="*/ 82 w 85"/>
                <a:gd name="T39" fmla="*/ 26 h 99"/>
                <a:gd name="T40" fmla="*/ 85 w 85"/>
                <a:gd name="T41" fmla="*/ 44 h 99"/>
                <a:gd name="T42" fmla="*/ 85 w 85"/>
                <a:gd name="T43" fmla="*/ 99 h 99"/>
                <a:gd name="T44" fmla="*/ 59 w 85"/>
                <a:gd name="T45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5" h="99">
                  <a:moveTo>
                    <a:pt x="59" y="99"/>
                  </a:moveTo>
                  <a:cubicBezTo>
                    <a:pt x="59" y="47"/>
                    <a:pt x="59" y="47"/>
                    <a:pt x="59" y="47"/>
                  </a:cubicBezTo>
                  <a:cubicBezTo>
                    <a:pt x="59" y="39"/>
                    <a:pt x="58" y="33"/>
                    <a:pt x="55" y="30"/>
                  </a:cubicBezTo>
                  <a:cubicBezTo>
                    <a:pt x="53" y="26"/>
                    <a:pt x="49" y="24"/>
                    <a:pt x="43" y="24"/>
                  </a:cubicBezTo>
                  <a:cubicBezTo>
                    <a:pt x="40" y="24"/>
                    <a:pt x="38" y="24"/>
                    <a:pt x="35" y="25"/>
                  </a:cubicBezTo>
                  <a:cubicBezTo>
                    <a:pt x="33" y="26"/>
                    <a:pt x="32" y="27"/>
                    <a:pt x="30" y="29"/>
                  </a:cubicBezTo>
                  <a:cubicBezTo>
                    <a:pt x="29" y="30"/>
                    <a:pt x="28" y="33"/>
                    <a:pt x="27" y="35"/>
                  </a:cubicBezTo>
                  <a:cubicBezTo>
                    <a:pt x="26" y="38"/>
                    <a:pt x="26" y="42"/>
                    <a:pt x="26" y="46"/>
                  </a:cubicBezTo>
                  <a:cubicBezTo>
                    <a:pt x="26" y="99"/>
                    <a:pt x="26" y="99"/>
                    <a:pt x="26" y="99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7" y="7"/>
                    <a:pt x="28" y="6"/>
                    <a:pt x="30" y="5"/>
                  </a:cubicBezTo>
                  <a:cubicBezTo>
                    <a:pt x="31" y="4"/>
                    <a:pt x="33" y="3"/>
                    <a:pt x="35" y="2"/>
                  </a:cubicBezTo>
                  <a:cubicBezTo>
                    <a:pt x="37" y="2"/>
                    <a:pt x="39" y="1"/>
                    <a:pt x="42" y="1"/>
                  </a:cubicBezTo>
                  <a:cubicBezTo>
                    <a:pt x="44" y="0"/>
                    <a:pt x="46" y="0"/>
                    <a:pt x="49" y="0"/>
                  </a:cubicBezTo>
                  <a:cubicBezTo>
                    <a:pt x="55" y="0"/>
                    <a:pt x="60" y="1"/>
                    <a:pt x="65" y="3"/>
                  </a:cubicBezTo>
                  <a:cubicBezTo>
                    <a:pt x="69" y="5"/>
                    <a:pt x="73" y="8"/>
                    <a:pt x="76" y="12"/>
                  </a:cubicBezTo>
                  <a:cubicBezTo>
                    <a:pt x="79" y="16"/>
                    <a:pt x="81" y="20"/>
                    <a:pt x="82" y="26"/>
                  </a:cubicBezTo>
                  <a:cubicBezTo>
                    <a:pt x="84" y="31"/>
                    <a:pt x="85" y="38"/>
                    <a:pt x="85" y="44"/>
                  </a:cubicBezTo>
                  <a:cubicBezTo>
                    <a:pt x="85" y="99"/>
                    <a:pt x="85" y="99"/>
                    <a:pt x="85" y="99"/>
                  </a:cubicBezTo>
                  <a:lnTo>
                    <a:pt x="59" y="9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83" name="Freeform 7">
              <a:extLst>
                <a:ext uri="{FF2B5EF4-FFF2-40B4-BE49-F238E27FC236}">
                  <a16:creationId xmlns:a16="http://schemas.microsoft.com/office/drawing/2014/main" id="{39829C97-B9FD-4508-8651-C460629865A1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9880823" y="1410902"/>
              <a:ext cx="71912" cy="87602"/>
            </a:xfrm>
            <a:custGeom>
              <a:avLst/>
              <a:gdLst>
                <a:gd name="T0" fmla="*/ 105 w 105"/>
                <a:gd name="T1" fmla="*/ 64 h 129"/>
                <a:gd name="T2" fmla="*/ 103 w 105"/>
                <a:gd name="T3" fmla="*/ 85 h 129"/>
                <a:gd name="T4" fmla="*/ 96 w 105"/>
                <a:gd name="T5" fmla="*/ 101 h 129"/>
                <a:gd name="T6" fmla="*/ 85 w 105"/>
                <a:gd name="T7" fmla="*/ 114 h 129"/>
                <a:gd name="T8" fmla="*/ 71 w 105"/>
                <a:gd name="T9" fmla="*/ 122 h 129"/>
                <a:gd name="T10" fmla="*/ 55 w 105"/>
                <a:gd name="T11" fmla="*/ 128 h 129"/>
                <a:gd name="T12" fmla="*/ 39 w 105"/>
                <a:gd name="T13" fmla="*/ 129 h 129"/>
                <a:gd name="T14" fmla="*/ 0 w 105"/>
                <a:gd name="T15" fmla="*/ 129 h 129"/>
                <a:gd name="T16" fmla="*/ 0 w 105"/>
                <a:gd name="T17" fmla="*/ 0 h 129"/>
                <a:gd name="T18" fmla="*/ 41 w 105"/>
                <a:gd name="T19" fmla="*/ 0 h 129"/>
                <a:gd name="T20" fmla="*/ 67 w 105"/>
                <a:gd name="T21" fmla="*/ 3 h 129"/>
                <a:gd name="T22" fmla="*/ 87 w 105"/>
                <a:gd name="T23" fmla="*/ 14 h 129"/>
                <a:gd name="T24" fmla="*/ 100 w 105"/>
                <a:gd name="T25" fmla="*/ 34 h 129"/>
                <a:gd name="T26" fmla="*/ 105 w 105"/>
                <a:gd name="T27" fmla="*/ 64 h 129"/>
                <a:gd name="T28" fmla="*/ 79 w 105"/>
                <a:gd name="T29" fmla="*/ 64 h 129"/>
                <a:gd name="T30" fmla="*/ 76 w 105"/>
                <a:gd name="T31" fmla="*/ 47 h 129"/>
                <a:gd name="T32" fmla="*/ 70 w 105"/>
                <a:gd name="T33" fmla="*/ 35 h 129"/>
                <a:gd name="T34" fmla="*/ 58 w 105"/>
                <a:gd name="T35" fmla="*/ 27 h 129"/>
                <a:gd name="T36" fmla="*/ 40 w 105"/>
                <a:gd name="T37" fmla="*/ 25 h 129"/>
                <a:gd name="T38" fmla="*/ 26 w 105"/>
                <a:gd name="T39" fmla="*/ 25 h 129"/>
                <a:gd name="T40" fmla="*/ 26 w 105"/>
                <a:gd name="T41" fmla="*/ 104 h 129"/>
                <a:gd name="T42" fmla="*/ 39 w 105"/>
                <a:gd name="T43" fmla="*/ 104 h 129"/>
                <a:gd name="T44" fmla="*/ 57 w 105"/>
                <a:gd name="T45" fmla="*/ 101 h 129"/>
                <a:gd name="T46" fmla="*/ 69 w 105"/>
                <a:gd name="T47" fmla="*/ 93 h 129"/>
                <a:gd name="T48" fmla="*/ 76 w 105"/>
                <a:gd name="T49" fmla="*/ 81 h 129"/>
                <a:gd name="T50" fmla="*/ 79 w 105"/>
                <a:gd name="T51" fmla="*/ 64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5" h="129">
                  <a:moveTo>
                    <a:pt x="105" y="64"/>
                  </a:moveTo>
                  <a:cubicBezTo>
                    <a:pt x="105" y="72"/>
                    <a:pt x="104" y="79"/>
                    <a:pt x="103" y="85"/>
                  </a:cubicBezTo>
                  <a:cubicBezTo>
                    <a:pt x="101" y="91"/>
                    <a:pt x="99" y="97"/>
                    <a:pt x="96" y="101"/>
                  </a:cubicBezTo>
                  <a:cubicBezTo>
                    <a:pt x="92" y="106"/>
                    <a:pt x="89" y="110"/>
                    <a:pt x="85" y="114"/>
                  </a:cubicBezTo>
                  <a:cubicBezTo>
                    <a:pt x="80" y="117"/>
                    <a:pt x="76" y="120"/>
                    <a:pt x="71" y="122"/>
                  </a:cubicBezTo>
                  <a:cubicBezTo>
                    <a:pt x="66" y="125"/>
                    <a:pt x="61" y="126"/>
                    <a:pt x="55" y="128"/>
                  </a:cubicBezTo>
                  <a:cubicBezTo>
                    <a:pt x="50" y="129"/>
                    <a:pt x="44" y="129"/>
                    <a:pt x="39" y="129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50" y="0"/>
                    <a:pt x="59" y="1"/>
                    <a:pt x="67" y="3"/>
                  </a:cubicBezTo>
                  <a:cubicBezTo>
                    <a:pt x="74" y="5"/>
                    <a:pt x="81" y="9"/>
                    <a:pt x="87" y="14"/>
                  </a:cubicBezTo>
                  <a:cubicBezTo>
                    <a:pt x="93" y="19"/>
                    <a:pt x="97" y="26"/>
                    <a:pt x="100" y="34"/>
                  </a:cubicBezTo>
                  <a:cubicBezTo>
                    <a:pt x="104" y="43"/>
                    <a:pt x="105" y="53"/>
                    <a:pt x="105" y="64"/>
                  </a:cubicBezTo>
                  <a:close/>
                  <a:moveTo>
                    <a:pt x="79" y="64"/>
                  </a:moveTo>
                  <a:cubicBezTo>
                    <a:pt x="79" y="58"/>
                    <a:pt x="78" y="52"/>
                    <a:pt x="76" y="47"/>
                  </a:cubicBezTo>
                  <a:cubicBezTo>
                    <a:pt x="75" y="42"/>
                    <a:pt x="73" y="38"/>
                    <a:pt x="70" y="35"/>
                  </a:cubicBezTo>
                  <a:cubicBezTo>
                    <a:pt x="66" y="31"/>
                    <a:pt x="62" y="29"/>
                    <a:pt x="58" y="27"/>
                  </a:cubicBezTo>
                  <a:cubicBezTo>
                    <a:pt x="53" y="26"/>
                    <a:pt x="47" y="25"/>
                    <a:pt x="40" y="25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6" y="104"/>
                    <a:pt x="26" y="104"/>
                    <a:pt x="26" y="104"/>
                  </a:cubicBezTo>
                  <a:cubicBezTo>
                    <a:pt x="39" y="104"/>
                    <a:pt x="39" y="104"/>
                    <a:pt x="39" y="104"/>
                  </a:cubicBezTo>
                  <a:cubicBezTo>
                    <a:pt x="46" y="104"/>
                    <a:pt x="52" y="103"/>
                    <a:pt x="57" y="101"/>
                  </a:cubicBezTo>
                  <a:cubicBezTo>
                    <a:pt x="62" y="99"/>
                    <a:pt x="66" y="97"/>
                    <a:pt x="69" y="93"/>
                  </a:cubicBezTo>
                  <a:cubicBezTo>
                    <a:pt x="72" y="90"/>
                    <a:pt x="75" y="85"/>
                    <a:pt x="76" y="81"/>
                  </a:cubicBezTo>
                  <a:cubicBezTo>
                    <a:pt x="78" y="76"/>
                    <a:pt x="79" y="70"/>
                    <a:pt x="79" y="6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84" name="Freeform 8">
              <a:extLst>
                <a:ext uri="{FF2B5EF4-FFF2-40B4-BE49-F238E27FC236}">
                  <a16:creationId xmlns:a16="http://schemas.microsoft.com/office/drawing/2014/main" id="{E6E8D961-2633-4DD4-9603-DC987B33CBF8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9964502" y="1430515"/>
              <a:ext cx="56222" cy="69297"/>
            </a:xfrm>
            <a:custGeom>
              <a:avLst/>
              <a:gdLst>
                <a:gd name="T0" fmla="*/ 84 w 84"/>
                <a:gd name="T1" fmla="*/ 51 h 101"/>
                <a:gd name="T2" fmla="*/ 84 w 84"/>
                <a:gd name="T3" fmla="*/ 55 h 101"/>
                <a:gd name="T4" fmla="*/ 84 w 84"/>
                <a:gd name="T5" fmla="*/ 59 h 101"/>
                <a:gd name="T6" fmla="*/ 26 w 84"/>
                <a:gd name="T7" fmla="*/ 59 h 101"/>
                <a:gd name="T8" fmla="*/ 28 w 84"/>
                <a:gd name="T9" fmla="*/ 67 h 101"/>
                <a:gd name="T10" fmla="*/ 32 w 84"/>
                <a:gd name="T11" fmla="*/ 73 h 101"/>
                <a:gd name="T12" fmla="*/ 39 w 84"/>
                <a:gd name="T13" fmla="*/ 76 h 101"/>
                <a:gd name="T14" fmla="*/ 46 w 84"/>
                <a:gd name="T15" fmla="*/ 77 h 101"/>
                <a:gd name="T16" fmla="*/ 50 w 84"/>
                <a:gd name="T17" fmla="*/ 77 h 101"/>
                <a:gd name="T18" fmla="*/ 55 w 84"/>
                <a:gd name="T19" fmla="*/ 75 h 101"/>
                <a:gd name="T20" fmla="*/ 59 w 84"/>
                <a:gd name="T21" fmla="*/ 73 h 101"/>
                <a:gd name="T22" fmla="*/ 62 w 84"/>
                <a:gd name="T23" fmla="*/ 70 h 101"/>
                <a:gd name="T24" fmla="*/ 80 w 84"/>
                <a:gd name="T25" fmla="*/ 85 h 101"/>
                <a:gd name="T26" fmla="*/ 74 w 84"/>
                <a:gd name="T27" fmla="*/ 92 h 101"/>
                <a:gd name="T28" fmla="*/ 65 w 84"/>
                <a:gd name="T29" fmla="*/ 97 h 101"/>
                <a:gd name="T30" fmla="*/ 55 w 84"/>
                <a:gd name="T31" fmla="*/ 100 h 101"/>
                <a:gd name="T32" fmla="*/ 46 w 84"/>
                <a:gd name="T33" fmla="*/ 101 h 101"/>
                <a:gd name="T34" fmla="*/ 31 w 84"/>
                <a:gd name="T35" fmla="*/ 99 h 101"/>
                <a:gd name="T36" fmla="*/ 20 w 84"/>
                <a:gd name="T37" fmla="*/ 94 h 101"/>
                <a:gd name="T38" fmla="*/ 12 w 84"/>
                <a:gd name="T39" fmla="*/ 87 h 101"/>
                <a:gd name="T40" fmla="*/ 5 w 84"/>
                <a:gd name="T41" fmla="*/ 77 h 101"/>
                <a:gd name="T42" fmla="*/ 1 w 84"/>
                <a:gd name="T43" fmla="*/ 65 h 101"/>
                <a:gd name="T44" fmla="*/ 0 w 84"/>
                <a:gd name="T45" fmla="*/ 51 h 101"/>
                <a:gd name="T46" fmla="*/ 3 w 84"/>
                <a:gd name="T47" fmla="*/ 30 h 101"/>
                <a:gd name="T48" fmla="*/ 12 w 84"/>
                <a:gd name="T49" fmla="*/ 14 h 101"/>
                <a:gd name="T50" fmla="*/ 26 w 84"/>
                <a:gd name="T51" fmla="*/ 4 h 101"/>
                <a:gd name="T52" fmla="*/ 43 w 84"/>
                <a:gd name="T53" fmla="*/ 0 h 101"/>
                <a:gd name="T54" fmla="*/ 61 w 84"/>
                <a:gd name="T55" fmla="*/ 4 h 101"/>
                <a:gd name="T56" fmla="*/ 73 w 84"/>
                <a:gd name="T57" fmla="*/ 15 h 101"/>
                <a:gd name="T58" fmla="*/ 81 w 84"/>
                <a:gd name="T59" fmla="*/ 31 h 101"/>
                <a:gd name="T60" fmla="*/ 84 w 84"/>
                <a:gd name="T61" fmla="*/ 51 h 101"/>
                <a:gd name="T62" fmla="*/ 59 w 84"/>
                <a:gd name="T63" fmla="*/ 40 h 101"/>
                <a:gd name="T64" fmla="*/ 58 w 84"/>
                <a:gd name="T65" fmla="*/ 33 h 101"/>
                <a:gd name="T66" fmla="*/ 55 w 84"/>
                <a:gd name="T67" fmla="*/ 28 h 101"/>
                <a:gd name="T68" fmla="*/ 49 w 84"/>
                <a:gd name="T69" fmla="*/ 24 h 101"/>
                <a:gd name="T70" fmla="*/ 42 w 84"/>
                <a:gd name="T71" fmla="*/ 22 h 101"/>
                <a:gd name="T72" fmla="*/ 36 w 84"/>
                <a:gd name="T73" fmla="*/ 24 h 101"/>
                <a:gd name="T74" fmla="*/ 31 w 84"/>
                <a:gd name="T75" fmla="*/ 27 h 101"/>
                <a:gd name="T76" fmla="*/ 28 w 84"/>
                <a:gd name="T77" fmla="*/ 33 h 101"/>
                <a:gd name="T78" fmla="*/ 26 w 84"/>
                <a:gd name="T79" fmla="*/ 40 h 101"/>
                <a:gd name="T80" fmla="*/ 59 w 84"/>
                <a:gd name="T81" fmla="*/ 4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4" h="101">
                  <a:moveTo>
                    <a:pt x="84" y="51"/>
                  </a:moveTo>
                  <a:cubicBezTo>
                    <a:pt x="84" y="52"/>
                    <a:pt x="84" y="54"/>
                    <a:pt x="84" y="55"/>
                  </a:cubicBezTo>
                  <a:cubicBezTo>
                    <a:pt x="84" y="57"/>
                    <a:pt x="84" y="58"/>
                    <a:pt x="84" y="59"/>
                  </a:cubicBezTo>
                  <a:cubicBezTo>
                    <a:pt x="26" y="59"/>
                    <a:pt x="26" y="59"/>
                    <a:pt x="26" y="59"/>
                  </a:cubicBezTo>
                  <a:cubicBezTo>
                    <a:pt x="26" y="62"/>
                    <a:pt x="27" y="65"/>
                    <a:pt x="28" y="67"/>
                  </a:cubicBezTo>
                  <a:cubicBezTo>
                    <a:pt x="29" y="70"/>
                    <a:pt x="31" y="71"/>
                    <a:pt x="32" y="73"/>
                  </a:cubicBezTo>
                  <a:cubicBezTo>
                    <a:pt x="34" y="74"/>
                    <a:pt x="36" y="75"/>
                    <a:pt x="39" y="76"/>
                  </a:cubicBezTo>
                  <a:cubicBezTo>
                    <a:pt x="41" y="77"/>
                    <a:pt x="43" y="77"/>
                    <a:pt x="46" y="77"/>
                  </a:cubicBezTo>
                  <a:cubicBezTo>
                    <a:pt x="47" y="77"/>
                    <a:pt x="49" y="77"/>
                    <a:pt x="50" y="77"/>
                  </a:cubicBezTo>
                  <a:cubicBezTo>
                    <a:pt x="52" y="76"/>
                    <a:pt x="54" y="76"/>
                    <a:pt x="55" y="75"/>
                  </a:cubicBezTo>
                  <a:cubicBezTo>
                    <a:pt x="57" y="75"/>
                    <a:pt x="58" y="74"/>
                    <a:pt x="59" y="73"/>
                  </a:cubicBezTo>
                  <a:cubicBezTo>
                    <a:pt x="60" y="72"/>
                    <a:pt x="61" y="71"/>
                    <a:pt x="62" y="70"/>
                  </a:cubicBezTo>
                  <a:cubicBezTo>
                    <a:pt x="80" y="85"/>
                    <a:pt x="80" y="85"/>
                    <a:pt x="80" y="85"/>
                  </a:cubicBezTo>
                  <a:cubicBezTo>
                    <a:pt x="78" y="88"/>
                    <a:pt x="76" y="90"/>
                    <a:pt x="74" y="92"/>
                  </a:cubicBezTo>
                  <a:cubicBezTo>
                    <a:pt x="71" y="94"/>
                    <a:pt x="68" y="96"/>
                    <a:pt x="65" y="97"/>
                  </a:cubicBezTo>
                  <a:cubicBezTo>
                    <a:pt x="62" y="98"/>
                    <a:pt x="59" y="99"/>
                    <a:pt x="55" y="100"/>
                  </a:cubicBezTo>
                  <a:cubicBezTo>
                    <a:pt x="52" y="101"/>
                    <a:pt x="49" y="101"/>
                    <a:pt x="46" y="101"/>
                  </a:cubicBezTo>
                  <a:cubicBezTo>
                    <a:pt x="40" y="101"/>
                    <a:pt x="35" y="101"/>
                    <a:pt x="31" y="99"/>
                  </a:cubicBezTo>
                  <a:cubicBezTo>
                    <a:pt x="27" y="98"/>
                    <a:pt x="23" y="96"/>
                    <a:pt x="20" y="94"/>
                  </a:cubicBezTo>
                  <a:cubicBezTo>
                    <a:pt x="17" y="92"/>
                    <a:pt x="14" y="89"/>
                    <a:pt x="12" y="87"/>
                  </a:cubicBezTo>
                  <a:cubicBezTo>
                    <a:pt x="9" y="84"/>
                    <a:pt x="7" y="80"/>
                    <a:pt x="5" y="77"/>
                  </a:cubicBezTo>
                  <a:cubicBezTo>
                    <a:pt x="4" y="73"/>
                    <a:pt x="2" y="69"/>
                    <a:pt x="1" y="65"/>
                  </a:cubicBezTo>
                  <a:cubicBezTo>
                    <a:pt x="0" y="61"/>
                    <a:pt x="0" y="56"/>
                    <a:pt x="0" y="51"/>
                  </a:cubicBezTo>
                  <a:cubicBezTo>
                    <a:pt x="0" y="43"/>
                    <a:pt x="1" y="36"/>
                    <a:pt x="3" y="30"/>
                  </a:cubicBezTo>
                  <a:cubicBezTo>
                    <a:pt x="5" y="24"/>
                    <a:pt x="8" y="19"/>
                    <a:pt x="12" y="14"/>
                  </a:cubicBezTo>
                  <a:cubicBezTo>
                    <a:pt x="16" y="10"/>
                    <a:pt x="21" y="6"/>
                    <a:pt x="26" y="4"/>
                  </a:cubicBezTo>
                  <a:cubicBezTo>
                    <a:pt x="31" y="1"/>
                    <a:pt x="37" y="0"/>
                    <a:pt x="43" y="0"/>
                  </a:cubicBezTo>
                  <a:cubicBezTo>
                    <a:pt x="50" y="0"/>
                    <a:pt x="55" y="1"/>
                    <a:pt x="61" y="4"/>
                  </a:cubicBezTo>
                  <a:cubicBezTo>
                    <a:pt x="66" y="7"/>
                    <a:pt x="70" y="10"/>
                    <a:pt x="73" y="15"/>
                  </a:cubicBezTo>
                  <a:cubicBezTo>
                    <a:pt x="77" y="19"/>
                    <a:pt x="79" y="25"/>
                    <a:pt x="81" y="31"/>
                  </a:cubicBezTo>
                  <a:cubicBezTo>
                    <a:pt x="83" y="37"/>
                    <a:pt x="84" y="44"/>
                    <a:pt x="84" y="51"/>
                  </a:cubicBezTo>
                  <a:close/>
                  <a:moveTo>
                    <a:pt x="59" y="40"/>
                  </a:moveTo>
                  <a:cubicBezTo>
                    <a:pt x="59" y="37"/>
                    <a:pt x="59" y="35"/>
                    <a:pt x="58" y="33"/>
                  </a:cubicBezTo>
                  <a:cubicBezTo>
                    <a:pt x="57" y="31"/>
                    <a:pt x="56" y="29"/>
                    <a:pt x="55" y="28"/>
                  </a:cubicBezTo>
                  <a:cubicBezTo>
                    <a:pt x="53" y="26"/>
                    <a:pt x="51" y="25"/>
                    <a:pt x="49" y="24"/>
                  </a:cubicBezTo>
                  <a:cubicBezTo>
                    <a:pt x="47" y="23"/>
                    <a:pt x="45" y="22"/>
                    <a:pt x="42" y="22"/>
                  </a:cubicBezTo>
                  <a:cubicBezTo>
                    <a:pt x="40" y="22"/>
                    <a:pt x="37" y="23"/>
                    <a:pt x="36" y="24"/>
                  </a:cubicBezTo>
                  <a:cubicBezTo>
                    <a:pt x="34" y="24"/>
                    <a:pt x="32" y="26"/>
                    <a:pt x="31" y="27"/>
                  </a:cubicBezTo>
                  <a:cubicBezTo>
                    <a:pt x="29" y="29"/>
                    <a:pt x="28" y="31"/>
                    <a:pt x="28" y="33"/>
                  </a:cubicBezTo>
                  <a:cubicBezTo>
                    <a:pt x="27" y="35"/>
                    <a:pt x="26" y="37"/>
                    <a:pt x="26" y="40"/>
                  </a:cubicBezTo>
                  <a:lnTo>
                    <a:pt x="59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85" name="Freeform 9">
              <a:extLst>
                <a:ext uri="{FF2B5EF4-FFF2-40B4-BE49-F238E27FC236}">
                  <a16:creationId xmlns:a16="http://schemas.microsoft.com/office/drawing/2014/main" id="{F4A1F26E-26EA-44D8-8D11-97229CEC2530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035106" y="1431822"/>
              <a:ext cx="57529" cy="67989"/>
            </a:xfrm>
            <a:custGeom>
              <a:avLst/>
              <a:gdLst>
                <a:gd name="T0" fmla="*/ 58 w 84"/>
                <a:gd name="T1" fmla="*/ 97 h 99"/>
                <a:gd name="T2" fmla="*/ 58 w 84"/>
                <a:gd name="T3" fmla="*/ 91 h 99"/>
                <a:gd name="T4" fmla="*/ 49 w 84"/>
                <a:gd name="T5" fmla="*/ 97 h 99"/>
                <a:gd name="T6" fmla="*/ 35 w 84"/>
                <a:gd name="T7" fmla="*/ 99 h 99"/>
                <a:gd name="T8" fmla="*/ 9 w 84"/>
                <a:gd name="T9" fmla="*/ 88 h 99"/>
                <a:gd name="T10" fmla="*/ 0 w 84"/>
                <a:gd name="T11" fmla="*/ 55 h 99"/>
                <a:gd name="T12" fmla="*/ 0 w 84"/>
                <a:gd name="T13" fmla="*/ 0 h 99"/>
                <a:gd name="T14" fmla="*/ 25 w 84"/>
                <a:gd name="T15" fmla="*/ 0 h 99"/>
                <a:gd name="T16" fmla="*/ 25 w 84"/>
                <a:gd name="T17" fmla="*/ 52 h 99"/>
                <a:gd name="T18" fmla="*/ 29 w 84"/>
                <a:gd name="T19" fmla="*/ 70 h 99"/>
                <a:gd name="T20" fmla="*/ 42 w 84"/>
                <a:gd name="T21" fmla="*/ 75 h 99"/>
                <a:gd name="T22" fmla="*/ 54 w 84"/>
                <a:gd name="T23" fmla="*/ 70 h 99"/>
                <a:gd name="T24" fmla="*/ 58 w 84"/>
                <a:gd name="T25" fmla="*/ 53 h 99"/>
                <a:gd name="T26" fmla="*/ 58 w 84"/>
                <a:gd name="T27" fmla="*/ 0 h 99"/>
                <a:gd name="T28" fmla="*/ 84 w 84"/>
                <a:gd name="T29" fmla="*/ 0 h 99"/>
                <a:gd name="T30" fmla="*/ 84 w 84"/>
                <a:gd name="T31" fmla="*/ 97 h 99"/>
                <a:gd name="T32" fmla="*/ 58 w 84"/>
                <a:gd name="T33" fmla="*/ 97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4" h="99">
                  <a:moveTo>
                    <a:pt x="58" y="97"/>
                  </a:moveTo>
                  <a:cubicBezTo>
                    <a:pt x="58" y="91"/>
                    <a:pt x="58" y="91"/>
                    <a:pt x="58" y="91"/>
                  </a:cubicBezTo>
                  <a:cubicBezTo>
                    <a:pt x="56" y="93"/>
                    <a:pt x="53" y="95"/>
                    <a:pt x="49" y="97"/>
                  </a:cubicBezTo>
                  <a:cubicBezTo>
                    <a:pt x="45" y="98"/>
                    <a:pt x="41" y="99"/>
                    <a:pt x="35" y="99"/>
                  </a:cubicBezTo>
                  <a:cubicBezTo>
                    <a:pt x="24" y="99"/>
                    <a:pt x="15" y="95"/>
                    <a:pt x="9" y="88"/>
                  </a:cubicBezTo>
                  <a:cubicBezTo>
                    <a:pt x="3" y="80"/>
                    <a:pt x="0" y="69"/>
                    <a:pt x="0" y="5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52"/>
                    <a:pt x="25" y="52"/>
                    <a:pt x="25" y="52"/>
                  </a:cubicBezTo>
                  <a:cubicBezTo>
                    <a:pt x="25" y="60"/>
                    <a:pt x="26" y="66"/>
                    <a:pt x="29" y="70"/>
                  </a:cubicBezTo>
                  <a:cubicBezTo>
                    <a:pt x="31" y="73"/>
                    <a:pt x="36" y="75"/>
                    <a:pt x="42" y="75"/>
                  </a:cubicBezTo>
                  <a:cubicBezTo>
                    <a:pt x="48" y="75"/>
                    <a:pt x="52" y="73"/>
                    <a:pt x="54" y="70"/>
                  </a:cubicBezTo>
                  <a:cubicBezTo>
                    <a:pt x="57" y="66"/>
                    <a:pt x="58" y="60"/>
                    <a:pt x="58" y="53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97"/>
                    <a:pt x="84" y="97"/>
                    <a:pt x="84" y="97"/>
                  </a:cubicBezTo>
                  <a:lnTo>
                    <a:pt x="58" y="9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86" name="Freeform 10">
              <a:extLst>
                <a:ext uri="{FF2B5EF4-FFF2-40B4-BE49-F238E27FC236}">
                  <a16:creationId xmlns:a16="http://schemas.microsoft.com/office/drawing/2014/main" id="{45C1803D-4651-4E80-B712-F3F311657C4D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104403" y="1406980"/>
              <a:ext cx="43148" cy="92832"/>
            </a:xfrm>
            <a:custGeom>
              <a:avLst/>
              <a:gdLst>
                <a:gd name="T0" fmla="*/ 62 w 65"/>
                <a:gd name="T1" fmla="*/ 131 h 137"/>
                <a:gd name="T2" fmla="*/ 53 w 65"/>
                <a:gd name="T3" fmla="*/ 135 h 137"/>
                <a:gd name="T4" fmla="*/ 42 w 65"/>
                <a:gd name="T5" fmla="*/ 137 h 137"/>
                <a:gd name="T6" fmla="*/ 31 w 65"/>
                <a:gd name="T7" fmla="*/ 135 h 137"/>
                <a:gd name="T8" fmla="*/ 23 w 65"/>
                <a:gd name="T9" fmla="*/ 129 h 137"/>
                <a:gd name="T10" fmla="*/ 18 w 65"/>
                <a:gd name="T11" fmla="*/ 120 h 137"/>
                <a:gd name="T12" fmla="*/ 16 w 65"/>
                <a:gd name="T13" fmla="*/ 108 h 137"/>
                <a:gd name="T14" fmla="*/ 16 w 65"/>
                <a:gd name="T15" fmla="*/ 62 h 137"/>
                <a:gd name="T16" fmla="*/ 0 w 65"/>
                <a:gd name="T17" fmla="*/ 62 h 137"/>
                <a:gd name="T18" fmla="*/ 0 w 65"/>
                <a:gd name="T19" fmla="*/ 38 h 137"/>
                <a:gd name="T20" fmla="*/ 16 w 65"/>
                <a:gd name="T21" fmla="*/ 38 h 137"/>
                <a:gd name="T22" fmla="*/ 16 w 65"/>
                <a:gd name="T23" fmla="*/ 13 h 137"/>
                <a:gd name="T24" fmla="*/ 42 w 65"/>
                <a:gd name="T25" fmla="*/ 0 h 137"/>
                <a:gd name="T26" fmla="*/ 42 w 65"/>
                <a:gd name="T27" fmla="*/ 38 h 137"/>
                <a:gd name="T28" fmla="*/ 65 w 65"/>
                <a:gd name="T29" fmla="*/ 38 h 137"/>
                <a:gd name="T30" fmla="*/ 65 w 65"/>
                <a:gd name="T31" fmla="*/ 62 h 137"/>
                <a:gd name="T32" fmla="*/ 42 w 65"/>
                <a:gd name="T33" fmla="*/ 62 h 137"/>
                <a:gd name="T34" fmla="*/ 42 w 65"/>
                <a:gd name="T35" fmla="*/ 101 h 137"/>
                <a:gd name="T36" fmla="*/ 42 w 65"/>
                <a:gd name="T37" fmla="*/ 107 h 137"/>
                <a:gd name="T38" fmla="*/ 44 w 65"/>
                <a:gd name="T39" fmla="*/ 110 h 137"/>
                <a:gd name="T40" fmla="*/ 47 w 65"/>
                <a:gd name="T41" fmla="*/ 112 h 137"/>
                <a:gd name="T42" fmla="*/ 51 w 65"/>
                <a:gd name="T43" fmla="*/ 113 h 137"/>
                <a:gd name="T44" fmla="*/ 58 w 65"/>
                <a:gd name="T45" fmla="*/ 111 h 137"/>
                <a:gd name="T46" fmla="*/ 65 w 65"/>
                <a:gd name="T47" fmla="*/ 105 h 137"/>
                <a:gd name="T48" fmla="*/ 62 w 65"/>
                <a:gd name="T49" fmla="*/ 131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5" h="137">
                  <a:moveTo>
                    <a:pt x="62" y="131"/>
                  </a:moveTo>
                  <a:cubicBezTo>
                    <a:pt x="60" y="133"/>
                    <a:pt x="57" y="134"/>
                    <a:pt x="53" y="135"/>
                  </a:cubicBezTo>
                  <a:cubicBezTo>
                    <a:pt x="50" y="137"/>
                    <a:pt x="46" y="137"/>
                    <a:pt x="42" y="137"/>
                  </a:cubicBezTo>
                  <a:cubicBezTo>
                    <a:pt x="38" y="137"/>
                    <a:pt x="34" y="136"/>
                    <a:pt x="31" y="135"/>
                  </a:cubicBezTo>
                  <a:cubicBezTo>
                    <a:pt x="28" y="134"/>
                    <a:pt x="25" y="132"/>
                    <a:pt x="23" y="129"/>
                  </a:cubicBezTo>
                  <a:cubicBezTo>
                    <a:pt x="21" y="126"/>
                    <a:pt x="19" y="123"/>
                    <a:pt x="18" y="120"/>
                  </a:cubicBezTo>
                  <a:cubicBezTo>
                    <a:pt x="17" y="116"/>
                    <a:pt x="16" y="112"/>
                    <a:pt x="16" y="108"/>
                  </a:cubicBezTo>
                  <a:cubicBezTo>
                    <a:pt x="16" y="62"/>
                    <a:pt x="16" y="62"/>
                    <a:pt x="16" y="62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38"/>
                    <a:pt x="42" y="38"/>
                    <a:pt x="42" y="38"/>
                  </a:cubicBezTo>
                  <a:cubicBezTo>
                    <a:pt x="65" y="38"/>
                    <a:pt x="65" y="38"/>
                    <a:pt x="65" y="38"/>
                  </a:cubicBezTo>
                  <a:cubicBezTo>
                    <a:pt x="65" y="62"/>
                    <a:pt x="65" y="62"/>
                    <a:pt x="65" y="62"/>
                  </a:cubicBezTo>
                  <a:cubicBezTo>
                    <a:pt x="42" y="62"/>
                    <a:pt x="42" y="62"/>
                    <a:pt x="42" y="62"/>
                  </a:cubicBezTo>
                  <a:cubicBezTo>
                    <a:pt x="42" y="101"/>
                    <a:pt x="42" y="101"/>
                    <a:pt x="42" y="101"/>
                  </a:cubicBezTo>
                  <a:cubicBezTo>
                    <a:pt x="42" y="103"/>
                    <a:pt x="42" y="105"/>
                    <a:pt x="42" y="107"/>
                  </a:cubicBezTo>
                  <a:cubicBezTo>
                    <a:pt x="43" y="108"/>
                    <a:pt x="43" y="110"/>
                    <a:pt x="44" y="110"/>
                  </a:cubicBezTo>
                  <a:cubicBezTo>
                    <a:pt x="45" y="111"/>
                    <a:pt x="46" y="112"/>
                    <a:pt x="47" y="112"/>
                  </a:cubicBezTo>
                  <a:cubicBezTo>
                    <a:pt x="48" y="113"/>
                    <a:pt x="49" y="113"/>
                    <a:pt x="51" y="113"/>
                  </a:cubicBezTo>
                  <a:cubicBezTo>
                    <a:pt x="53" y="113"/>
                    <a:pt x="55" y="112"/>
                    <a:pt x="58" y="111"/>
                  </a:cubicBezTo>
                  <a:cubicBezTo>
                    <a:pt x="60" y="110"/>
                    <a:pt x="62" y="108"/>
                    <a:pt x="65" y="105"/>
                  </a:cubicBezTo>
                  <a:lnTo>
                    <a:pt x="62" y="13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87" name="Freeform 11">
              <a:extLst>
                <a:ext uri="{FF2B5EF4-FFF2-40B4-BE49-F238E27FC236}">
                  <a16:creationId xmlns:a16="http://schemas.microsoft.com/office/drawing/2014/main" id="{711CC3A8-EDFC-4EAE-A2DC-ACDC3B1D9DEB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160625" y="1430515"/>
              <a:ext cx="56222" cy="69297"/>
            </a:xfrm>
            <a:custGeom>
              <a:avLst/>
              <a:gdLst>
                <a:gd name="T0" fmla="*/ 78 w 81"/>
                <a:gd name="T1" fmla="*/ 9 h 101"/>
                <a:gd name="T2" fmla="*/ 70 w 81"/>
                <a:gd name="T3" fmla="*/ 30 h 101"/>
                <a:gd name="T4" fmla="*/ 55 w 81"/>
                <a:gd name="T5" fmla="*/ 24 h 101"/>
                <a:gd name="T6" fmla="*/ 41 w 81"/>
                <a:gd name="T7" fmla="*/ 22 h 101"/>
                <a:gd name="T8" fmla="*/ 31 w 81"/>
                <a:gd name="T9" fmla="*/ 23 h 101"/>
                <a:gd name="T10" fmla="*/ 28 w 81"/>
                <a:gd name="T11" fmla="*/ 28 h 101"/>
                <a:gd name="T12" fmla="*/ 29 w 81"/>
                <a:gd name="T13" fmla="*/ 31 h 101"/>
                <a:gd name="T14" fmla="*/ 32 w 81"/>
                <a:gd name="T15" fmla="*/ 33 h 101"/>
                <a:gd name="T16" fmla="*/ 38 w 81"/>
                <a:gd name="T17" fmla="*/ 36 h 101"/>
                <a:gd name="T18" fmla="*/ 48 w 81"/>
                <a:gd name="T19" fmla="*/ 39 h 101"/>
                <a:gd name="T20" fmla="*/ 61 w 81"/>
                <a:gd name="T21" fmla="*/ 44 h 101"/>
                <a:gd name="T22" fmla="*/ 71 w 81"/>
                <a:gd name="T23" fmla="*/ 50 h 101"/>
                <a:gd name="T24" fmla="*/ 78 w 81"/>
                <a:gd name="T25" fmla="*/ 59 h 101"/>
                <a:gd name="T26" fmla="*/ 81 w 81"/>
                <a:gd name="T27" fmla="*/ 71 h 101"/>
                <a:gd name="T28" fmla="*/ 78 w 81"/>
                <a:gd name="T29" fmla="*/ 85 h 101"/>
                <a:gd name="T30" fmla="*/ 69 w 81"/>
                <a:gd name="T31" fmla="*/ 94 h 101"/>
                <a:gd name="T32" fmla="*/ 57 w 81"/>
                <a:gd name="T33" fmla="*/ 100 h 101"/>
                <a:gd name="T34" fmla="*/ 41 w 81"/>
                <a:gd name="T35" fmla="*/ 101 h 101"/>
                <a:gd name="T36" fmla="*/ 19 w 81"/>
                <a:gd name="T37" fmla="*/ 98 h 101"/>
                <a:gd name="T38" fmla="*/ 0 w 81"/>
                <a:gd name="T39" fmla="*/ 90 h 101"/>
                <a:gd name="T40" fmla="*/ 9 w 81"/>
                <a:gd name="T41" fmla="*/ 70 h 101"/>
                <a:gd name="T42" fmla="*/ 25 w 81"/>
                <a:gd name="T43" fmla="*/ 77 h 101"/>
                <a:gd name="T44" fmla="*/ 43 w 81"/>
                <a:gd name="T45" fmla="*/ 79 h 101"/>
                <a:gd name="T46" fmla="*/ 53 w 81"/>
                <a:gd name="T47" fmla="*/ 78 h 101"/>
                <a:gd name="T48" fmla="*/ 56 w 81"/>
                <a:gd name="T49" fmla="*/ 72 h 101"/>
                <a:gd name="T50" fmla="*/ 55 w 81"/>
                <a:gd name="T51" fmla="*/ 69 h 101"/>
                <a:gd name="T52" fmla="*/ 53 w 81"/>
                <a:gd name="T53" fmla="*/ 67 h 101"/>
                <a:gd name="T54" fmla="*/ 48 w 81"/>
                <a:gd name="T55" fmla="*/ 64 h 101"/>
                <a:gd name="T56" fmla="*/ 41 w 81"/>
                <a:gd name="T57" fmla="*/ 62 h 101"/>
                <a:gd name="T58" fmla="*/ 26 w 81"/>
                <a:gd name="T59" fmla="*/ 57 h 101"/>
                <a:gd name="T60" fmla="*/ 13 w 81"/>
                <a:gd name="T61" fmla="*/ 51 h 101"/>
                <a:gd name="T62" fmla="*/ 6 w 81"/>
                <a:gd name="T63" fmla="*/ 42 h 101"/>
                <a:gd name="T64" fmla="*/ 3 w 81"/>
                <a:gd name="T65" fmla="*/ 29 h 101"/>
                <a:gd name="T66" fmla="*/ 6 w 81"/>
                <a:gd name="T67" fmla="*/ 16 h 101"/>
                <a:gd name="T68" fmla="*/ 14 w 81"/>
                <a:gd name="T69" fmla="*/ 7 h 101"/>
                <a:gd name="T70" fmla="*/ 26 w 81"/>
                <a:gd name="T71" fmla="*/ 2 h 101"/>
                <a:gd name="T72" fmla="*/ 42 w 81"/>
                <a:gd name="T73" fmla="*/ 0 h 101"/>
                <a:gd name="T74" fmla="*/ 61 w 81"/>
                <a:gd name="T75" fmla="*/ 3 h 101"/>
                <a:gd name="T76" fmla="*/ 78 w 81"/>
                <a:gd name="T77" fmla="*/ 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81" h="101">
                  <a:moveTo>
                    <a:pt x="78" y="9"/>
                  </a:moveTo>
                  <a:cubicBezTo>
                    <a:pt x="70" y="30"/>
                    <a:pt x="70" y="30"/>
                    <a:pt x="70" y="30"/>
                  </a:cubicBezTo>
                  <a:cubicBezTo>
                    <a:pt x="65" y="27"/>
                    <a:pt x="60" y="25"/>
                    <a:pt x="55" y="24"/>
                  </a:cubicBezTo>
                  <a:cubicBezTo>
                    <a:pt x="50" y="22"/>
                    <a:pt x="45" y="22"/>
                    <a:pt x="41" y="22"/>
                  </a:cubicBezTo>
                  <a:cubicBezTo>
                    <a:pt x="37" y="22"/>
                    <a:pt x="34" y="22"/>
                    <a:pt x="31" y="23"/>
                  </a:cubicBezTo>
                  <a:cubicBezTo>
                    <a:pt x="29" y="24"/>
                    <a:pt x="28" y="26"/>
                    <a:pt x="28" y="28"/>
                  </a:cubicBezTo>
                  <a:cubicBezTo>
                    <a:pt x="28" y="29"/>
                    <a:pt x="29" y="30"/>
                    <a:pt x="29" y="31"/>
                  </a:cubicBezTo>
                  <a:cubicBezTo>
                    <a:pt x="29" y="32"/>
                    <a:pt x="30" y="32"/>
                    <a:pt x="32" y="33"/>
                  </a:cubicBezTo>
                  <a:cubicBezTo>
                    <a:pt x="33" y="34"/>
                    <a:pt x="35" y="35"/>
                    <a:pt x="38" y="36"/>
                  </a:cubicBezTo>
                  <a:cubicBezTo>
                    <a:pt x="41" y="37"/>
                    <a:pt x="44" y="38"/>
                    <a:pt x="48" y="39"/>
                  </a:cubicBezTo>
                  <a:cubicBezTo>
                    <a:pt x="53" y="41"/>
                    <a:pt x="57" y="42"/>
                    <a:pt x="61" y="44"/>
                  </a:cubicBezTo>
                  <a:cubicBezTo>
                    <a:pt x="65" y="46"/>
                    <a:pt x="68" y="48"/>
                    <a:pt x="71" y="50"/>
                  </a:cubicBezTo>
                  <a:cubicBezTo>
                    <a:pt x="74" y="52"/>
                    <a:pt x="76" y="55"/>
                    <a:pt x="78" y="59"/>
                  </a:cubicBezTo>
                  <a:cubicBezTo>
                    <a:pt x="80" y="62"/>
                    <a:pt x="81" y="66"/>
                    <a:pt x="81" y="71"/>
                  </a:cubicBezTo>
                  <a:cubicBezTo>
                    <a:pt x="81" y="76"/>
                    <a:pt x="80" y="81"/>
                    <a:pt x="78" y="85"/>
                  </a:cubicBezTo>
                  <a:cubicBezTo>
                    <a:pt x="76" y="89"/>
                    <a:pt x="73" y="92"/>
                    <a:pt x="69" y="94"/>
                  </a:cubicBezTo>
                  <a:cubicBezTo>
                    <a:pt x="66" y="97"/>
                    <a:pt x="61" y="98"/>
                    <a:pt x="57" y="100"/>
                  </a:cubicBezTo>
                  <a:cubicBezTo>
                    <a:pt x="52" y="101"/>
                    <a:pt x="47" y="101"/>
                    <a:pt x="41" y="101"/>
                  </a:cubicBezTo>
                  <a:cubicBezTo>
                    <a:pt x="34" y="101"/>
                    <a:pt x="26" y="100"/>
                    <a:pt x="19" y="98"/>
                  </a:cubicBezTo>
                  <a:cubicBezTo>
                    <a:pt x="12" y="96"/>
                    <a:pt x="6" y="93"/>
                    <a:pt x="0" y="90"/>
                  </a:cubicBezTo>
                  <a:cubicBezTo>
                    <a:pt x="9" y="70"/>
                    <a:pt x="9" y="70"/>
                    <a:pt x="9" y="70"/>
                  </a:cubicBezTo>
                  <a:cubicBezTo>
                    <a:pt x="14" y="73"/>
                    <a:pt x="20" y="76"/>
                    <a:pt x="25" y="77"/>
                  </a:cubicBezTo>
                  <a:cubicBezTo>
                    <a:pt x="31" y="79"/>
                    <a:pt x="36" y="79"/>
                    <a:pt x="43" y="79"/>
                  </a:cubicBezTo>
                  <a:cubicBezTo>
                    <a:pt x="47" y="79"/>
                    <a:pt x="51" y="79"/>
                    <a:pt x="53" y="78"/>
                  </a:cubicBezTo>
                  <a:cubicBezTo>
                    <a:pt x="55" y="76"/>
                    <a:pt x="56" y="75"/>
                    <a:pt x="56" y="72"/>
                  </a:cubicBezTo>
                  <a:cubicBezTo>
                    <a:pt x="56" y="71"/>
                    <a:pt x="55" y="70"/>
                    <a:pt x="55" y="69"/>
                  </a:cubicBezTo>
                  <a:cubicBezTo>
                    <a:pt x="54" y="68"/>
                    <a:pt x="54" y="67"/>
                    <a:pt x="53" y="67"/>
                  </a:cubicBezTo>
                  <a:cubicBezTo>
                    <a:pt x="51" y="66"/>
                    <a:pt x="50" y="65"/>
                    <a:pt x="48" y="64"/>
                  </a:cubicBezTo>
                  <a:cubicBezTo>
                    <a:pt x="46" y="64"/>
                    <a:pt x="44" y="63"/>
                    <a:pt x="41" y="62"/>
                  </a:cubicBezTo>
                  <a:cubicBezTo>
                    <a:pt x="36" y="60"/>
                    <a:pt x="30" y="59"/>
                    <a:pt x="26" y="57"/>
                  </a:cubicBezTo>
                  <a:cubicBezTo>
                    <a:pt x="21" y="55"/>
                    <a:pt x="17" y="53"/>
                    <a:pt x="13" y="51"/>
                  </a:cubicBezTo>
                  <a:cubicBezTo>
                    <a:pt x="10" y="48"/>
                    <a:pt x="8" y="45"/>
                    <a:pt x="6" y="42"/>
                  </a:cubicBezTo>
                  <a:cubicBezTo>
                    <a:pt x="4" y="38"/>
                    <a:pt x="3" y="34"/>
                    <a:pt x="3" y="29"/>
                  </a:cubicBezTo>
                  <a:cubicBezTo>
                    <a:pt x="3" y="24"/>
                    <a:pt x="4" y="19"/>
                    <a:pt x="6" y="16"/>
                  </a:cubicBezTo>
                  <a:cubicBezTo>
                    <a:pt x="8" y="12"/>
                    <a:pt x="10" y="9"/>
                    <a:pt x="14" y="7"/>
                  </a:cubicBezTo>
                  <a:cubicBezTo>
                    <a:pt x="17" y="4"/>
                    <a:pt x="21" y="3"/>
                    <a:pt x="26" y="2"/>
                  </a:cubicBezTo>
                  <a:cubicBezTo>
                    <a:pt x="31" y="0"/>
                    <a:pt x="36" y="0"/>
                    <a:pt x="42" y="0"/>
                  </a:cubicBezTo>
                  <a:cubicBezTo>
                    <a:pt x="48" y="0"/>
                    <a:pt x="54" y="1"/>
                    <a:pt x="61" y="3"/>
                  </a:cubicBezTo>
                  <a:cubicBezTo>
                    <a:pt x="67" y="4"/>
                    <a:pt x="73" y="7"/>
                    <a:pt x="78" y="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88" name="Freeform 12">
              <a:extLst>
                <a:ext uri="{FF2B5EF4-FFF2-40B4-BE49-F238E27FC236}">
                  <a16:creationId xmlns:a16="http://schemas.microsoft.com/office/drawing/2014/main" id="{C17A032D-DB72-46B0-B4C8-EE8C8CC504F2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226000" y="1430515"/>
              <a:ext cx="58837" cy="69297"/>
            </a:xfrm>
            <a:custGeom>
              <a:avLst/>
              <a:gdLst>
                <a:gd name="T0" fmla="*/ 85 w 85"/>
                <a:gd name="T1" fmla="*/ 80 h 101"/>
                <a:gd name="T2" fmla="*/ 77 w 85"/>
                <a:gd name="T3" fmla="*/ 88 h 101"/>
                <a:gd name="T4" fmla="*/ 69 w 85"/>
                <a:gd name="T5" fmla="*/ 95 h 101"/>
                <a:gd name="T6" fmla="*/ 58 w 85"/>
                <a:gd name="T7" fmla="*/ 100 h 101"/>
                <a:gd name="T8" fmla="*/ 45 w 85"/>
                <a:gd name="T9" fmla="*/ 101 h 101"/>
                <a:gd name="T10" fmla="*/ 27 w 85"/>
                <a:gd name="T11" fmla="*/ 98 h 101"/>
                <a:gd name="T12" fmla="*/ 13 w 85"/>
                <a:gd name="T13" fmla="*/ 87 h 101"/>
                <a:gd name="T14" fmla="*/ 3 w 85"/>
                <a:gd name="T15" fmla="*/ 71 h 101"/>
                <a:gd name="T16" fmla="*/ 0 w 85"/>
                <a:gd name="T17" fmla="*/ 51 h 101"/>
                <a:gd name="T18" fmla="*/ 3 w 85"/>
                <a:gd name="T19" fmla="*/ 30 h 101"/>
                <a:gd name="T20" fmla="*/ 13 w 85"/>
                <a:gd name="T21" fmla="*/ 14 h 101"/>
                <a:gd name="T22" fmla="*/ 28 w 85"/>
                <a:gd name="T23" fmla="*/ 4 h 101"/>
                <a:gd name="T24" fmla="*/ 46 w 85"/>
                <a:gd name="T25" fmla="*/ 0 h 101"/>
                <a:gd name="T26" fmla="*/ 68 w 85"/>
                <a:gd name="T27" fmla="*/ 5 h 101"/>
                <a:gd name="T28" fmla="*/ 85 w 85"/>
                <a:gd name="T29" fmla="*/ 21 h 101"/>
                <a:gd name="T30" fmla="*/ 68 w 85"/>
                <a:gd name="T31" fmla="*/ 38 h 101"/>
                <a:gd name="T32" fmla="*/ 63 w 85"/>
                <a:gd name="T33" fmla="*/ 33 h 101"/>
                <a:gd name="T34" fmla="*/ 58 w 85"/>
                <a:gd name="T35" fmla="*/ 28 h 101"/>
                <a:gd name="T36" fmla="*/ 53 w 85"/>
                <a:gd name="T37" fmla="*/ 26 h 101"/>
                <a:gd name="T38" fmla="*/ 46 w 85"/>
                <a:gd name="T39" fmla="*/ 25 h 101"/>
                <a:gd name="T40" fmla="*/ 37 w 85"/>
                <a:gd name="T41" fmla="*/ 26 h 101"/>
                <a:gd name="T42" fmla="*/ 31 w 85"/>
                <a:gd name="T43" fmla="*/ 32 h 101"/>
                <a:gd name="T44" fmla="*/ 27 w 85"/>
                <a:gd name="T45" fmla="*/ 40 h 101"/>
                <a:gd name="T46" fmla="*/ 26 w 85"/>
                <a:gd name="T47" fmla="*/ 51 h 101"/>
                <a:gd name="T48" fmla="*/ 27 w 85"/>
                <a:gd name="T49" fmla="*/ 61 h 101"/>
                <a:gd name="T50" fmla="*/ 31 w 85"/>
                <a:gd name="T51" fmla="*/ 69 h 101"/>
                <a:gd name="T52" fmla="*/ 37 w 85"/>
                <a:gd name="T53" fmla="*/ 75 h 101"/>
                <a:gd name="T54" fmla="*/ 46 w 85"/>
                <a:gd name="T55" fmla="*/ 77 h 101"/>
                <a:gd name="T56" fmla="*/ 52 w 85"/>
                <a:gd name="T57" fmla="*/ 76 h 101"/>
                <a:gd name="T58" fmla="*/ 58 w 85"/>
                <a:gd name="T59" fmla="*/ 73 h 101"/>
                <a:gd name="T60" fmla="*/ 64 w 85"/>
                <a:gd name="T61" fmla="*/ 69 h 101"/>
                <a:gd name="T62" fmla="*/ 69 w 85"/>
                <a:gd name="T63" fmla="*/ 64 h 101"/>
                <a:gd name="T64" fmla="*/ 85 w 85"/>
                <a:gd name="T65" fmla="*/ 8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5" h="101">
                  <a:moveTo>
                    <a:pt x="85" y="80"/>
                  </a:moveTo>
                  <a:cubicBezTo>
                    <a:pt x="83" y="83"/>
                    <a:pt x="80" y="86"/>
                    <a:pt x="77" y="88"/>
                  </a:cubicBezTo>
                  <a:cubicBezTo>
                    <a:pt x="75" y="91"/>
                    <a:pt x="72" y="93"/>
                    <a:pt x="69" y="95"/>
                  </a:cubicBezTo>
                  <a:cubicBezTo>
                    <a:pt x="65" y="97"/>
                    <a:pt x="62" y="98"/>
                    <a:pt x="58" y="100"/>
                  </a:cubicBezTo>
                  <a:cubicBezTo>
                    <a:pt x="54" y="101"/>
                    <a:pt x="50" y="101"/>
                    <a:pt x="45" y="101"/>
                  </a:cubicBezTo>
                  <a:cubicBezTo>
                    <a:pt x="39" y="101"/>
                    <a:pt x="33" y="100"/>
                    <a:pt x="27" y="98"/>
                  </a:cubicBezTo>
                  <a:cubicBezTo>
                    <a:pt x="22" y="95"/>
                    <a:pt x="17" y="92"/>
                    <a:pt x="13" y="87"/>
                  </a:cubicBezTo>
                  <a:cubicBezTo>
                    <a:pt x="9" y="83"/>
                    <a:pt x="5" y="77"/>
                    <a:pt x="3" y="71"/>
                  </a:cubicBezTo>
                  <a:cubicBezTo>
                    <a:pt x="1" y="65"/>
                    <a:pt x="0" y="58"/>
                    <a:pt x="0" y="51"/>
                  </a:cubicBezTo>
                  <a:cubicBezTo>
                    <a:pt x="0" y="43"/>
                    <a:pt x="1" y="36"/>
                    <a:pt x="3" y="30"/>
                  </a:cubicBezTo>
                  <a:cubicBezTo>
                    <a:pt x="5" y="24"/>
                    <a:pt x="9" y="19"/>
                    <a:pt x="13" y="14"/>
                  </a:cubicBezTo>
                  <a:cubicBezTo>
                    <a:pt x="17" y="10"/>
                    <a:pt x="22" y="6"/>
                    <a:pt x="28" y="4"/>
                  </a:cubicBezTo>
                  <a:cubicBezTo>
                    <a:pt x="33" y="1"/>
                    <a:pt x="39" y="0"/>
                    <a:pt x="46" y="0"/>
                  </a:cubicBezTo>
                  <a:cubicBezTo>
                    <a:pt x="54" y="0"/>
                    <a:pt x="62" y="2"/>
                    <a:pt x="68" y="5"/>
                  </a:cubicBezTo>
                  <a:cubicBezTo>
                    <a:pt x="74" y="9"/>
                    <a:pt x="80" y="14"/>
                    <a:pt x="85" y="21"/>
                  </a:cubicBezTo>
                  <a:cubicBezTo>
                    <a:pt x="68" y="38"/>
                    <a:pt x="68" y="38"/>
                    <a:pt x="68" y="38"/>
                  </a:cubicBezTo>
                  <a:cubicBezTo>
                    <a:pt x="66" y="36"/>
                    <a:pt x="65" y="35"/>
                    <a:pt x="63" y="33"/>
                  </a:cubicBezTo>
                  <a:cubicBezTo>
                    <a:pt x="62" y="31"/>
                    <a:pt x="60" y="30"/>
                    <a:pt x="58" y="28"/>
                  </a:cubicBezTo>
                  <a:cubicBezTo>
                    <a:pt x="57" y="27"/>
                    <a:pt x="55" y="26"/>
                    <a:pt x="53" y="26"/>
                  </a:cubicBezTo>
                  <a:cubicBezTo>
                    <a:pt x="51" y="25"/>
                    <a:pt x="48" y="25"/>
                    <a:pt x="46" y="25"/>
                  </a:cubicBezTo>
                  <a:cubicBezTo>
                    <a:pt x="43" y="25"/>
                    <a:pt x="40" y="25"/>
                    <a:pt x="37" y="26"/>
                  </a:cubicBezTo>
                  <a:cubicBezTo>
                    <a:pt x="35" y="28"/>
                    <a:pt x="33" y="29"/>
                    <a:pt x="31" y="32"/>
                  </a:cubicBezTo>
                  <a:cubicBezTo>
                    <a:pt x="29" y="34"/>
                    <a:pt x="28" y="37"/>
                    <a:pt x="27" y="40"/>
                  </a:cubicBezTo>
                  <a:cubicBezTo>
                    <a:pt x="26" y="43"/>
                    <a:pt x="26" y="47"/>
                    <a:pt x="26" y="51"/>
                  </a:cubicBezTo>
                  <a:cubicBezTo>
                    <a:pt x="26" y="55"/>
                    <a:pt x="26" y="58"/>
                    <a:pt x="27" y="61"/>
                  </a:cubicBezTo>
                  <a:cubicBezTo>
                    <a:pt x="28" y="64"/>
                    <a:pt x="29" y="67"/>
                    <a:pt x="31" y="69"/>
                  </a:cubicBezTo>
                  <a:cubicBezTo>
                    <a:pt x="33" y="72"/>
                    <a:pt x="35" y="73"/>
                    <a:pt x="37" y="75"/>
                  </a:cubicBezTo>
                  <a:cubicBezTo>
                    <a:pt x="40" y="76"/>
                    <a:pt x="43" y="77"/>
                    <a:pt x="46" y="77"/>
                  </a:cubicBezTo>
                  <a:cubicBezTo>
                    <a:pt x="48" y="77"/>
                    <a:pt x="50" y="76"/>
                    <a:pt x="52" y="76"/>
                  </a:cubicBezTo>
                  <a:cubicBezTo>
                    <a:pt x="55" y="75"/>
                    <a:pt x="57" y="74"/>
                    <a:pt x="58" y="73"/>
                  </a:cubicBezTo>
                  <a:cubicBezTo>
                    <a:pt x="60" y="72"/>
                    <a:pt x="62" y="71"/>
                    <a:pt x="64" y="69"/>
                  </a:cubicBezTo>
                  <a:cubicBezTo>
                    <a:pt x="65" y="68"/>
                    <a:pt x="67" y="66"/>
                    <a:pt x="69" y="64"/>
                  </a:cubicBezTo>
                  <a:lnTo>
                    <a:pt x="85" y="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89" name="Freeform 13">
              <a:extLst>
                <a:ext uri="{FF2B5EF4-FFF2-40B4-BE49-F238E27FC236}">
                  <a16:creationId xmlns:a16="http://schemas.microsoft.com/office/drawing/2014/main" id="{2280FDE2-015D-4B7A-8900-05F5FB783060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297911" y="1406980"/>
              <a:ext cx="57529" cy="91524"/>
            </a:xfrm>
            <a:custGeom>
              <a:avLst/>
              <a:gdLst>
                <a:gd name="T0" fmla="*/ 59 w 84"/>
                <a:gd name="T1" fmla="*/ 135 h 135"/>
                <a:gd name="T2" fmla="*/ 59 w 84"/>
                <a:gd name="T3" fmla="*/ 83 h 135"/>
                <a:gd name="T4" fmla="*/ 55 w 84"/>
                <a:gd name="T5" fmla="*/ 66 h 135"/>
                <a:gd name="T6" fmla="*/ 42 w 84"/>
                <a:gd name="T7" fmla="*/ 60 h 135"/>
                <a:gd name="T8" fmla="*/ 35 w 84"/>
                <a:gd name="T9" fmla="*/ 61 h 135"/>
                <a:gd name="T10" fmla="*/ 30 w 84"/>
                <a:gd name="T11" fmla="*/ 65 h 135"/>
                <a:gd name="T12" fmla="*/ 27 w 84"/>
                <a:gd name="T13" fmla="*/ 71 h 135"/>
                <a:gd name="T14" fmla="*/ 25 w 84"/>
                <a:gd name="T15" fmla="*/ 82 h 135"/>
                <a:gd name="T16" fmla="*/ 25 w 84"/>
                <a:gd name="T17" fmla="*/ 135 h 135"/>
                <a:gd name="T18" fmla="*/ 0 w 84"/>
                <a:gd name="T19" fmla="*/ 135 h 135"/>
                <a:gd name="T20" fmla="*/ 0 w 84"/>
                <a:gd name="T21" fmla="*/ 13 h 135"/>
                <a:gd name="T22" fmla="*/ 25 w 84"/>
                <a:gd name="T23" fmla="*/ 0 h 135"/>
                <a:gd name="T24" fmla="*/ 25 w 84"/>
                <a:gd name="T25" fmla="*/ 44 h 135"/>
                <a:gd name="T26" fmla="*/ 29 w 84"/>
                <a:gd name="T27" fmla="*/ 41 h 135"/>
                <a:gd name="T28" fmla="*/ 35 w 84"/>
                <a:gd name="T29" fmla="*/ 38 h 135"/>
                <a:gd name="T30" fmla="*/ 41 w 84"/>
                <a:gd name="T31" fmla="*/ 37 h 135"/>
                <a:gd name="T32" fmla="*/ 48 w 84"/>
                <a:gd name="T33" fmla="*/ 36 h 135"/>
                <a:gd name="T34" fmla="*/ 64 w 84"/>
                <a:gd name="T35" fmla="*/ 39 h 135"/>
                <a:gd name="T36" fmla="*/ 75 w 84"/>
                <a:gd name="T37" fmla="*/ 48 h 135"/>
                <a:gd name="T38" fmla="*/ 82 w 84"/>
                <a:gd name="T39" fmla="*/ 62 h 135"/>
                <a:gd name="T40" fmla="*/ 84 w 84"/>
                <a:gd name="T41" fmla="*/ 80 h 135"/>
                <a:gd name="T42" fmla="*/ 84 w 84"/>
                <a:gd name="T43" fmla="*/ 135 h 135"/>
                <a:gd name="T44" fmla="*/ 59 w 84"/>
                <a:gd name="T45" fmla="*/ 135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4" h="135">
                  <a:moveTo>
                    <a:pt x="59" y="135"/>
                  </a:moveTo>
                  <a:cubicBezTo>
                    <a:pt x="59" y="83"/>
                    <a:pt x="59" y="83"/>
                    <a:pt x="59" y="83"/>
                  </a:cubicBezTo>
                  <a:cubicBezTo>
                    <a:pt x="59" y="75"/>
                    <a:pt x="57" y="69"/>
                    <a:pt x="55" y="66"/>
                  </a:cubicBezTo>
                  <a:cubicBezTo>
                    <a:pt x="52" y="62"/>
                    <a:pt x="48" y="60"/>
                    <a:pt x="42" y="60"/>
                  </a:cubicBezTo>
                  <a:cubicBezTo>
                    <a:pt x="39" y="60"/>
                    <a:pt x="37" y="60"/>
                    <a:pt x="35" y="61"/>
                  </a:cubicBezTo>
                  <a:cubicBezTo>
                    <a:pt x="33" y="62"/>
                    <a:pt x="31" y="63"/>
                    <a:pt x="30" y="65"/>
                  </a:cubicBezTo>
                  <a:cubicBezTo>
                    <a:pt x="28" y="66"/>
                    <a:pt x="27" y="69"/>
                    <a:pt x="27" y="71"/>
                  </a:cubicBezTo>
                  <a:cubicBezTo>
                    <a:pt x="26" y="74"/>
                    <a:pt x="25" y="78"/>
                    <a:pt x="25" y="82"/>
                  </a:cubicBezTo>
                  <a:cubicBezTo>
                    <a:pt x="25" y="135"/>
                    <a:pt x="25" y="135"/>
                    <a:pt x="25" y="135"/>
                  </a:cubicBezTo>
                  <a:cubicBezTo>
                    <a:pt x="0" y="135"/>
                    <a:pt x="0" y="135"/>
                    <a:pt x="0" y="135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44"/>
                    <a:pt x="25" y="44"/>
                    <a:pt x="25" y="44"/>
                  </a:cubicBezTo>
                  <a:cubicBezTo>
                    <a:pt x="27" y="43"/>
                    <a:pt x="28" y="42"/>
                    <a:pt x="29" y="41"/>
                  </a:cubicBezTo>
                  <a:cubicBezTo>
                    <a:pt x="31" y="40"/>
                    <a:pt x="33" y="39"/>
                    <a:pt x="35" y="38"/>
                  </a:cubicBezTo>
                  <a:cubicBezTo>
                    <a:pt x="37" y="38"/>
                    <a:pt x="39" y="37"/>
                    <a:pt x="41" y="37"/>
                  </a:cubicBezTo>
                  <a:cubicBezTo>
                    <a:pt x="43" y="36"/>
                    <a:pt x="46" y="36"/>
                    <a:pt x="48" y="36"/>
                  </a:cubicBezTo>
                  <a:cubicBezTo>
                    <a:pt x="54" y="36"/>
                    <a:pt x="60" y="37"/>
                    <a:pt x="64" y="39"/>
                  </a:cubicBezTo>
                  <a:cubicBezTo>
                    <a:pt x="69" y="41"/>
                    <a:pt x="73" y="44"/>
                    <a:pt x="75" y="48"/>
                  </a:cubicBezTo>
                  <a:cubicBezTo>
                    <a:pt x="78" y="52"/>
                    <a:pt x="81" y="56"/>
                    <a:pt x="82" y="62"/>
                  </a:cubicBezTo>
                  <a:cubicBezTo>
                    <a:pt x="83" y="67"/>
                    <a:pt x="84" y="74"/>
                    <a:pt x="84" y="80"/>
                  </a:cubicBezTo>
                  <a:cubicBezTo>
                    <a:pt x="84" y="135"/>
                    <a:pt x="84" y="135"/>
                    <a:pt x="84" y="135"/>
                  </a:cubicBezTo>
                  <a:lnTo>
                    <a:pt x="59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90" name="Freeform 14">
              <a:extLst>
                <a:ext uri="{FF2B5EF4-FFF2-40B4-BE49-F238E27FC236}">
                  <a16:creationId xmlns:a16="http://schemas.microsoft.com/office/drawing/2014/main" id="{D3D1BB3D-6AD6-4BE1-893D-EBCB285005E9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372438" y="1406980"/>
              <a:ext cx="16998" cy="91524"/>
            </a:xfrm>
            <a:custGeom>
              <a:avLst/>
              <a:gdLst>
                <a:gd name="T0" fmla="*/ 0 w 13"/>
                <a:gd name="T1" fmla="*/ 70 h 70"/>
                <a:gd name="T2" fmla="*/ 0 w 13"/>
                <a:gd name="T3" fmla="*/ 6 h 70"/>
                <a:gd name="T4" fmla="*/ 13 w 13"/>
                <a:gd name="T5" fmla="*/ 0 h 70"/>
                <a:gd name="T6" fmla="*/ 13 w 13"/>
                <a:gd name="T7" fmla="*/ 70 h 70"/>
                <a:gd name="T8" fmla="*/ 0 w 13"/>
                <a:gd name="T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70">
                  <a:moveTo>
                    <a:pt x="0" y="70"/>
                  </a:moveTo>
                  <a:lnTo>
                    <a:pt x="0" y="6"/>
                  </a:lnTo>
                  <a:lnTo>
                    <a:pt x="13" y="0"/>
                  </a:lnTo>
                  <a:lnTo>
                    <a:pt x="13" y="70"/>
                  </a:lnTo>
                  <a:lnTo>
                    <a:pt x="0" y="7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91" name="Freeform 15">
              <a:extLst>
                <a:ext uri="{FF2B5EF4-FFF2-40B4-BE49-F238E27FC236}">
                  <a16:creationId xmlns:a16="http://schemas.microsoft.com/office/drawing/2014/main" id="{98B7DF92-85DC-454B-9A4B-F9A35E6A3C3A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10403818" y="1430515"/>
              <a:ext cx="57529" cy="69297"/>
            </a:xfrm>
            <a:custGeom>
              <a:avLst/>
              <a:gdLst>
                <a:gd name="T0" fmla="*/ 58 w 83"/>
                <a:gd name="T1" fmla="*/ 99 h 101"/>
                <a:gd name="T2" fmla="*/ 58 w 83"/>
                <a:gd name="T3" fmla="*/ 93 h 101"/>
                <a:gd name="T4" fmla="*/ 54 w 83"/>
                <a:gd name="T5" fmla="*/ 96 h 101"/>
                <a:gd name="T6" fmla="*/ 49 w 83"/>
                <a:gd name="T7" fmla="*/ 99 h 101"/>
                <a:gd name="T8" fmla="*/ 42 w 83"/>
                <a:gd name="T9" fmla="*/ 101 h 101"/>
                <a:gd name="T10" fmla="*/ 36 w 83"/>
                <a:gd name="T11" fmla="*/ 101 h 101"/>
                <a:gd name="T12" fmla="*/ 23 w 83"/>
                <a:gd name="T13" fmla="*/ 99 h 101"/>
                <a:gd name="T14" fmla="*/ 11 w 83"/>
                <a:gd name="T15" fmla="*/ 93 h 101"/>
                <a:gd name="T16" fmla="*/ 3 w 83"/>
                <a:gd name="T17" fmla="*/ 82 h 101"/>
                <a:gd name="T18" fmla="*/ 0 w 83"/>
                <a:gd name="T19" fmla="*/ 67 h 101"/>
                <a:gd name="T20" fmla="*/ 3 w 83"/>
                <a:gd name="T21" fmla="*/ 53 h 101"/>
                <a:gd name="T22" fmla="*/ 11 w 83"/>
                <a:gd name="T23" fmla="*/ 42 h 101"/>
                <a:gd name="T24" fmla="*/ 24 w 83"/>
                <a:gd name="T25" fmla="*/ 36 h 101"/>
                <a:gd name="T26" fmla="*/ 39 w 83"/>
                <a:gd name="T27" fmla="*/ 34 h 101"/>
                <a:gd name="T28" fmla="*/ 50 w 83"/>
                <a:gd name="T29" fmla="*/ 36 h 101"/>
                <a:gd name="T30" fmla="*/ 58 w 83"/>
                <a:gd name="T31" fmla="*/ 38 h 101"/>
                <a:gd name="T32" fmla="*/ 58 w 83"/>
                <a:gd name="T33" fmla="*/ 33 h 101"/>
                <a:gd name="T34" fmla="*/ 54 w 83"/>
                <a:gd name="T35" fmla="*/ 25 h 101"/>
                <a:gd name="T36" fmla="*/ 44 w 83"/>
                <a:gd name="T37" fmla="*/ 21 h 101"/>
                <a:gd name="T38" fmla="*/ 30 w 83"/>
                <a:gd name="T39" fmla="*/ 22 h 101"/>
                <a:gd name="T40" fmla="*/ 17 w 83"/>
                <a:gd name="T41" fmla="*/ 27 h 101"/>
                <a:gd name="T42" fmla="*/ 7 w 83"/>
                <a:gd name="T43" fmla="*/ 10 h 101"/>
                <a:gd name="T44" fmla="*/ 25 w 83"/>
                <a:gd name="T45" fmla="*/ 2 h 101"/>
                <a:gd name="T46" fmla="*/ 44 w 83"/>
                <a:gd name="T47" fmla="*/ 0 h 101"/>
                <a:gd name="T48" fmla="*/ 60 w 83"/>
                <a:gd name="T49" fmla="*/ 2 h 101"/>
                <a:gd name="T50" fmla="*/ 72 w 83"/>
                <a:gd name="T51" fmla="*/ 9 h 101"/>
                <a:gd name="T52" fmla="*/ 80 w 83"/>
                <a:gd name="T53" fmla="*/ 19 h 101"/>
                <a:gd name="T54" fmla="*/ 83 w 83"/>
                <a:gd name="T55" fmla="*/ 34 h 101"/>
                <a:gd name="T56" fmla="*/ 83 w 83"/>
                <a:gd name="T57" fmla="*/ 99 h 101"/>
                <a:gd name="T58" fmla="*/ 58 w 83"/>
                <a:gd name="T59" fmla="*/ 99 h 101"/>
                <a:gd name="T60" fmla="*/ 58 w 83"/>
                <a:gd name="T61" fmla="*/ 58 h 101"/>
                <a:gd name="T62" fmla="*/ 54 w 83"/>
                <a:gd name="T63" fmla="*/ 57 h 101"/>
                <a:gd name="T64" fmla="*/ 51 w 83"/>
                <a:gd name="T65" fmla="*/ 55 h 101"/>
                <a:gd name="T66" fmla="*/ 46 w 83"/>
                <a:gd name="T67" fmla="*/ 55 h 101"/>
                <a:gd name="T68" fmla="*/ 40 w 83"/>
                <a:gd name="T69" fmla="*/ 54 h 101"/>
                <a:gd name="T70" fmla="*/ 29 w 83"/>
                <a:gd name="T71" fmla="*/ 58 h 101"/>
                <a:gd name="T72" fmla="*/ 25 w 83"/>
                <a:gd name="T73" fmla="*/ 67 h 101"/>
                <a:gd name="T74" fmla="*/ 26 w 83"/>
                <a:gd name="T75" fmla="*/ 71 h 101"/>
                <a:gd name="T76" fmla="*/ 28 w 83"/>
                <a:gd name="T77" fmla="*/ 76 h 101"/>
                <a:gd name="T78" fmla="*/ 33 w 83"/>
                <a:gd name="T79" fmla="*/ 78 h 101"/>
                <a:gd name="T80" fmla="*/ 40 w 83"/>
                <a:gd name="T81" fmla="*/ 80 h 101"/>
                <a:gd name="T82" fmla="*/ 46 w 83"/>
                <a:gd name="T83" fmla="*/ 79 h 101"/>
                <a:gd name="T84" fmla="*/ 51 w 83"/>
                <a:gd name="T85" fmla="*/ 77 h 101"/>
                <a:gd name="T86" fmla="*/ 55 w 83"/>
                <a:gd name="T87" fmla="*/ 74 h 101"/>
                <a:gd name="T88" fmla="*/ 58 w 83"/>
                <a:gd name="T89" fmla="*/ 71 h 101"/>
                <a:gd name="T90" fmla="*/ 58 w 83"/>
                <a:gd name="T91" fmla="*/ 5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83" h="101">
                  <a:moveTo>
                    <a:pt x="58" y="99"/>
                  </a:moveTo>
                  <a:cubicBezTo>
                    <a:pt x="58" y="93"/>
                    <a:pt x="58" y="93"/>
                    <a:pt x="58" y="93"/>
                  </a:cubicBezTo>
                  <a:cubicBezTo>
                    <a:pt x="57" y="94"/>
                    <a:pt x="55" y="95"/>
                    <a:pt x="54" y="96"/>
                  </a:cubicBezTo>
                  <a:cubicBezTo>
                    <a:pt x="52" y="97"/>
                    <a:pt x="51" y="98"/>
                    <a:pt x="49" y="99"/>
                  </a:cubicBezTo>
                  <a:cubicBezTo>
                    <a:pt x="47" y="100"/>
                    <a:pt x="44" y="100"/>
                    <a:pt x="42" y="101"/>
                  </a:cubicBezTo>
                  <a:cubicBezTo>
                    <a:pt x="40" y="101"/>
                    <a:pt x="38" y="101"/>
                    <a:pt x="36" y="101"/>
                  </a:cubicBezTo>
                  <a:cubicBezTo>
                    <a:pt x="31" y="101"/>
                    <a:pt x="27" y="100"/>
                    <a:pt x="23" y="99"/>
                  </a:cubicBezTo>
                  <a:cubicBezTo>
                    <a:pt x="18" y="98"/>
                    <a:pt x="14" y="96"/>
                    <a:pt x="11" y="93"/>
                  </a:cubicBezTo>
                  <a:cubicBezTo>
                    <a:pt x="8" y="90"/>
                    <a:pt x="5" y="86"/>
                    <a:pt x="3" y="82"/>
                  </a:cubicBezTo>
                  <a:cubicBezTo>
                    <a:pt x="1" y="78"/>
                    <a:pt x="0" y="73"/>
                    <a:pt x="0" y="67"/>
                  </a:cubicBezTo>
                  <a:cubicBezTo>
                    <a:pt x="0" y="61"/>
                    <a:pt x="1" y="57"/>
                    <a:pt x="3" y="53"/>
                  </a:cubicBezTo>
                  <a:cubicBezTo>
                    <a:pt x="5" y="48"/>
                    <a:pt x="8" y="45"/>
                    <a:pt x="11" y="42"/>
                  </a:cubicBezTo>
                  <a:cubicBezTo>
                    <a:pt x="15" y="40"/>
                    <a:pt x="19" y="38"/>
                    <a:pt x="24" y="36"/>
                  </a:cubicBezTo>
                  <a:cubicBezTo>
                    <a:pt x="28" y="35"/>
                    <a:pt x="33" y="34"/>
                    <a:pt x="39" y="34"/>
                  </a:cubicBezTo>
                  <a:cubicBezTo>
                    <a:pt x="43" y="34"/>
                    <a:pt x="47" y="35"/>
                    <a:pt x="50" y="36"/>
                  </a:cubicBezTo>
                  <a:cubicBezTo>
                    <a:pt x="53" y="36"/>
                    <a:pt x="56" y="37"/>
                    <a:pt x="58" y="38"/>
                  </a:cubicBezTo>
                  <a:cubicBezTo>
                    <a:pt x="58" y="33"/>
                    <a:pt x="58" y="33"/>
                    <a:pt x="58" y="33"/>
                  </a:cubicBezTo>
                  <a:cubicBezTo>
                    <a:pt x="58" y="30"/>
                    <a:pt x="56" y="27"/>
                    <a:pt x="54" y="25"/>
                  </a:cubicBezTo>
                  <a:cubicBezTo>
                    <a:pt x="52" y="22"/>
                    <a:pt x="48" y="21"/>
                    <a:pt x="44" y="21"/>
                  </a:cubicBezTo>
                  <a:cubicBezTo>
                    <a:pt x="38" y="21"/>
                    <a:pt x="33" y="21"/>
                    <a:pt x="30" y="22"/>
                  </a:cubicBezTo>
                  <a:cubicBezTo>
                    <a:pt x="26" y="23"/>
                    <a:pt x="22" y="25"/>
                    <a:pt x="17" y="27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14" y="6"/>
                    <a:pt x="19" y="4"/>
                    <a:pt x="25" y="2"/>
                  </a:cubicBezTo>
                  <a:cubicBezTo>
                    <a:pt x="30" y="1"/>
                    <a:pt x="37" y="0"/>
                    <a:pt x="44" y="0"/>
                  </a:cubicBezTo>
                  <a:cubicBezTo>
                    <a:pt x="50" y="0"/>
                    <a:pt x="55" y="1"/>
                    <a:pt x="60" y="2"/>
                  </a:cubicBezTo>
                  <a:cubicBezTo>
                    <a:pt x="65" y="4"/>
                    <a:pt x="69" y="6"/>
                    <a:pt x="72" y="9"/>
                  </a:cubicBezTo>
                  <a:cubicBezTo>
                    <a:pt x="76" y="12"/>
                    <a:pt x="79" y="15"/>
                    <a:pt x="80" y="19"/>
                  </a:cubicBezTo>
                  <a:cubicBezTo>
                    <a:pt x="82" y="24"/>
                    <a:pt x="83" y="29"/>
                    <a:pt x="83" y="34"/>
                  </a:cubicBezTo>
                  <a:cubicBezTo>
                    <a:pt x="83" y="99"/>
                    <a:pt x="83" y="99"/>
                    <a:pt x="83" y="99"/>
                  </a:cubicBezTo>
                  <a:lnTo>
                    <a:pt x="58" y="99"/>
                  </a:lnTo>
                  <a:close/>
                  <a:moveTo>
                    <a:pt x="58" y="58"/>
                  </a:moveTo>
                  <a:cubicBezTo>
                    <a:pt x="57" y="58"/>
                    <a:pt x="55" y="57"/>
                    <a:pt x="54" y="57"/>
                  </a:cubicBezTo>
                  <a:cubicBezTo>
                    <a:pt x="53" y="56"/>
                    <a:pt x="52" y="56"/>
                    <a:pt x="51" y="55"/>
                  </a:cubicBezTo>
                  <a:cubicBezTo>
                    <a:pt x="49" y="55"/>
                    <a:pt x="48" y="55"/>
                    <a:pt x="46" y="55"/>
                  </a:cubicBezTo>
                  <a:cubicBezTo>
                    <a:pt x="44" y="54"/>
                    <a:pt x="42" y="54"/>
                    <a:pt x="40" y="54"/>
                  </a:cubicBezTo>
                  <a:cubicBezTo>
                    <a:pt x="35" y="54"/>
                    <a:pt x="31" y="55"/>
                    <a:pt x="29" y="58"/>
                  </a:cubicBezTo>
                  <a:cubicBezTo>
                    <a:pt x="26" y="60"/>
                    <a:pt x="25" y="63"/>
                    <a:pt x="25" y="67"/>
                  </a:cubicBezTo>
                  <a:cubicBezTo>
                    <a:pt x="25" y="68"/>
                    <a:pt x="25" y="70"/>
                    <a:pt x="26" y="71"/>
                  </a:cubicBezTo>
                  <a:cubicBezTo>
                    <a:pt x="26" y="73"/>
                    <a:pt x="27" y="74"/>
                    <a:pt x="28" y="76"/>
                  </a:cubicBezTo>
                  <a:cubicBezTo>
                    <a:pt x="30" y="77"/>
                    <a:pt x="31" y="78"/>
                    <a:pt x="33" y="78"/>
                  </a:cubicBezTo>
                  <a:cubicBezTo>
                    <a:pt x="35" y="79"/>
                    <a:pt x="37" y="80"/>
                    <a:pt x="40" y="80"/>
                  </a:cubicBezTo>
                  <a:cubicBezTo>
                    <a:pt x="42" y="80"/>
                    <a:pt x="44" y="79"/>
                    <a:pt x="46" y="79"/>
                  </a:cubicBezTo>
                  <a:cubicBezTo>
                    <a:pt x="48" y="78"/>
                    <a:pt x="49" y="78"/>
                    <a:pt x="51" y="77"/>
                  </a:cubicBezTo>
                  <a:cubicBezTo>
                    <a:pt x="52" y="76"/>
                    <a:pt x="54" y="75"/>
                    <a:pt x="55" y="74"/>
                  </a:cubicBezTo>
                  <a:cubicBezTo>
                    <a:pt x="56" y="73"/>
                    <a:pt x="57" y="72"/>
                    <a:pt x="58" y="71"/>
                  </a:cubicBezTo>
                  <a:lnTo>
                    <a:pt x="58" y="5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92" name="Freeform 16">
              <a:extLst>
                <a:ext uri="{FF2B5EF4-FFF2-40B4-BE49-F238E27FC236}">
                  <a16:creationId xmlns:a16="http://schemas.microsoft.com/office/drawing/2014/main" id="{42944BA6-F9C0-48FA-B96D-E1DF6E30FA74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477037" y="1430515"/>
              <a:ext cx="57529" cy="67989"/>
            </a:xfrm>
            <a:custGeom>
              <a:avLst/>
              <a:gdLst>
                <a:gd name="T0" fmla="*/ 59 w 84"/>
                <a:gd name="T1" fmla="*/ 99 h 99"/>
                <a:gd name="T2" fmla="*/ 59 w 84"/>
                <a:gd name="T3" fmla="*/ 47 h 99"/>
                <a:gd name="T4" fmla="*/ 55 w 84"/>
                <a:gd name="T5" fmla="*/ 30 h 99"/>
                <a:gd name="T6" fmla="*/ 42 w 84"/>
                <a:gd name="T7" fmla="*/ 24 h 99"/>
                <a:gd name="T8" fmla="*/ 35 w 84"/>
                <a:gd name="T9" fmla="*/ 25 h 99"/>
                <a:gd name="T10" fmla="*/ 30 w 84"/>
                <a:gd name="T11" fmla="*/ 29 h 99"/>
                <a:gd name="T12" fmla="*/ 27 w 84"/>
                <a:gd name="T13" fmla="*/ 35 h 99"/>
                <a:gd name="T14" fmla="*/ 26 w 84"/>
                <a:gd name="T15" fmla="*/ 46 h 99"/>
                <a:gd name="T16" fmla="*/ 26 w 84"/>
                <a:gd name="T17" fmla="*/ 99 h 99"/>
                <a:gd name="T18" fmla="*/ 0 w 84"/>
                <a:gd name="T19" fmla="*/ 99 h 99"/>
                <a:gd name="T20" fmla="*/ 0 w 84"/>
                <a:gd name="T21" fmla="*/ 2 h 99"/>
                <a:gd name="T22" fmla="*/ 26 w 84"/>
                <a:gd name="T23" fmla="*/ 2 h 99"/>
                <a:gd name="T24" fmla="*/ 26 w 84"/>
                <a:gd name="T25" fmla="*/ 8 h 99"/>
                <a:gd name="T26" fmla="*/ 30 w 84"/>
                <a:gd name="T27" fmla="*/ 5 h 99"/>
                <a:gd name="T28" fmla="*/ 35 w 84"/>
                <a:gd name="T29" fmla="*/ 2 h 99"/>
                <a:gd name="T30" fmla="*/ 41 w 84"/>
                <a:gd name="T31" fmla="*/ 1 h 99"/>
                <a:gd name="T32" fmla="*/ 48 w 84"/>
                <a:gd name="T33" fmla="*/ 0 h 99"/>
                <a:gd name="T34" fmla="*/ 64 w 84"/>
                <a:gd name="T35" fmla="*/ 3 h 99"/>
                <a:gd name="T36" fmla="*/ 76 w 84"/>
                <a:gd name="T37" fmla="*/ 12 h 99"/>
                <a:gd name="T38" fmla="*/ 82 w 84"/>
                <a:gd name="T39" fmla="*/ 26 h 99"/>
                <a:gd name="T40" fmla="*/ 84 w 84"/>
                <a:gd name="T41" fmla="*/ 44 h 99"/>
                <a:gd name="T42" fmla="*/ 84 w 84"/>
                <a:gd name="T43" fmla="*/ 99 h 99"/>
                <a:gd name="T44" fmla="*/ 59 w 84"/>
                <a:gd name="T45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4" h="99">
                  <a:moveTo>
                    <a:pt x="59" y="99"/>
                  </a:moveTo>
                  <a:cubicBezTo>
                    <a:pt x="59" y="47"/>
                    <a:pt x="59" y="47"/>
                    <a:pt x="59" y="47"/>
                  </a:cubicBezTo>
                  <a:cubicBezTo>
                    <a:pt x="59" y="39"/>
                    <a:pt x="58" y="33"/>
                    <a:pt x="55" y="30"/>
                  </a:cubicBezTo>
                  <a:cubicBezTo>
                    <a:pt x="53" y="26"/>
                    <a:pt x="48" y="24"/>
                    <a:pt x="42" y="24"/>
                  </a:cubicBezTo>
                  <a:cubicBezTo>
                    <a:pt x="40" y="24"/>
                    <a:pt x="37" y="24"/>
                    <a:pt x="35" y="25"/>
                  </a:cubicBezTo>
                  <a:cubicBezTo>
                    <a:pt x="33" y="26"/>
                    <a:pt x="31" y="27"/>
                    <a:pt x="30" y="29"/>
                  </a:cubicBezTo>
                  <a:cubicBezTo>
                    <a:pt x="29" y="30"/>
                    <a:pt x="28" y="33"/>
                    <a:pt x="27" y="35"/>
                  </a:cubicBezTo>
                  <a:cubicBezTo>
                    <a:pt x="26" y="38"/>
                    <a:pt x="26" y="42"/>
                    <a:pt x="26" y="46"/>
                  </a:cubicBezTo>
                  <a:cubicBezTo>
                    <a:pt x="26" y="99"/>
                    <a:pt x="26" y="99"/>
                    <a:pt x="26" y="99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7" y="7"/>
                    <a:pt x="28" y="6"/>
                    <a:pt x="30" y="5"/>
                  </a:cubicBezTo>
                  <a:cubicBezTo>
                    <a:pt x="31" y="4"/>
                    <a:pt x="33" y="3"/>
                    <a:pt x="35" y="2"/>
                  </a:cubicBezTo>
                  <a:cubicBezTo>
                    <a:pt x="37" y="2"/>
                    <a:pt x="39" y="1"/>
                    <a:pt x="41" y="1"/>
                  </a:cubicBezTo>
                  <a:cubicBezTo>
                    <a:pt x="44" y="0"/>
                    <a:pt x="46" y="0"/>
                    <a:pt x="48" y="0"/>
                  </a:cubicBezTo>
                  <a:cubicBezTo>
                    <a:pt x="55" y="0"/>
                    <a:pt x="60" y="1"/>
                    <a:pt x="64" y="3"/>
                  </a:cubicBezTo>
                  <a:cubicBezTo>
                    <a:pt x="69" y="5"/>
                    <a:pt x="73" y="8"/>
                    <a:pt x="76" y="12"/>
                  </a:cubicBezTo>
                  <a:cubicBezTo>
                    <a:pt x="79" y="16"/>
                    <a:pt x="81" y="20"/>
                    <a:pt x="82" y="26"/>
                  </a:cubicBezTo>
                  <a:cubicBezTo>
                    <a:pt x="84" y="31"/>
                    <a:pt x="84" y="38"/>
                    <a:pt x="84" y="44"/>
                  </a:cubicBezTo>
                  <a:cubicBezTo>
                    <a:pt x="84" y="99"/>
                    <a:pt x="84" y="99"/>
                    <a:pt x="84" y="99"/>
                  </a:cubicBezTo>
                  <a:lnTo>
                    <a:pt x="59" y="9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93" name="Freeform 17">
              <a:extLst>
                <a:ext uri="{FF2B5EF4-FFF2-40B4-BE49-F238E27FC236}">
                  <a16:creationId xmlns:a16="http://schemas.microsoft.com/office/drawing/2014/main" id="{AD76CDEE-75C6-43F6-B367-6EF14BC3B7FE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10547642" y="1406980"/>
              <a:ext cx="57529" cy="92832"/>
            </a:xfrm>
            <a:custGeom>
              <a:avLst/>
              <a:gdLst>
                <a:gd name="T0" fmla="*/ 58 w 84"/>
                <a:gd name="T1" fmla="*/ 135 h 137"/>
                <a:gd name="T2" fmla="*/ 58 w 84"/>
                <a:gd name="T3" fmla="*/ 129 h 137"/>
                <a:gd name="T4" fmla="*/ 55 w 84"/>
                <a:gd name="T5" fmla="*/ 132 h 137"/>
                <a:gd name="T6" fmla="*/ 50 w 84"/>
                <a:gd name="T7" fmla="*/ 135 h 137"/>
                <a:gd name="T8" fmla="*/ 45 w 84"/>
                <a:gd name="T9" fmla="*/ 137 h 137"/>
                <a:gd name="T10" fmla="*/ 38 w 84"/>
                <a:gd name="T11" fmla="*/ 137 h 137"/>
                <a:gd name="T12" fmla="*/ 23 w 84"/>
                <a:gd name="T13" fmla="*/ 134 h 137"/>
                <a:gd name="T14" fmla="*/ 11 w 84"/>
                <a:gd name="T15" fmla="*/ 125 h 137"/>
                <a:gd name="T16" fmla="*/ 3 w 84"/>
                <a:gd name="T17" fmla="*/ 109 h 137"/>
                <a:gd name="T18" fmla="*/ 0 w 84"/>
                <a:gd name="T19" fmla="*/ 85 h 137"/>
                <a:gd name="T20" fmla="*/ 3 w 84"/>
                <a:gd name="T21" fmla="*/ 65 h 137"/>
                <a:gd name="T22" fmla="*/ 10 w 84"/>
                <a:gd name="T23" fmla="*/ 50 h 137"/>
                <a:gd name="T24" fmla="*/ 22 w 84"/>
                <a:gd name="T25" fmla="*/ 40 h 137"/>
                <a:gd name="T26" fmla="*/ 38 w 84"/>
                <a:gd name="T27" fmla="*/ 36 h 137"/>
                <a:gd name="T28" fmla="*/ 44 w 84"/>
                <a:gd name="T29" fmla="*/ 36 h 137"/>
                <a:gd name="T30" fmla="*/ 50 w 84"/>
                <a:gd name="T31" fmla="*/ 38 h 137"/>
                <a:gd name="T32" fmla="*/ 55 w 84"/>
                <a:gd name="T33" fmla="*/ 41 h 137"/>
                <a:gd name="T34" fmla="*/ 58 w 84"/>
                <a:gd name="T35" fmla="*/ 44 h 137"/>
                <a:gd name="T36" fmla="*/ 58 w 84"/>
                <a:gd name="T37" fmla="*/ 13 h 137"/>
                <a:gd name="T38" fmla="*/ 84 w 84"/>
                <a:gd name="T39" fmla="*/ 0 h 137"/>
                <a:gd name="T40" fmla="*/ 84 w 84"/>
                <a:gd name="T41" fmla="*/ 135 h 137"/>
                <a:gd name="T42" fmla="*/ 58 w 84"/>
                <a:gd name="T43" fmla="*/ 135 h 137"/>
                <a:gd name="T44" fmla="*/ 58 w 84"/>
                <a:gd name="T45" fmla="*/ 68 h 137"/>
                <a:gd name="T46" fmla="*/ 55 w 84"/>
                <a:gd name="T47" fmla="*/ 65 h 137"/>
                <a:gd name="T48" fmla="*/ 52 w 84"/>
                <a:gd name="T49" fmla="*/ 62 h 137"/>
                <a:gd name="T50" fmla="*/ 47 w 84"/>
                <a:gd name="T51" fmla="*/ 61 h 137"/>
                <a:gd name="T52" fmla="*/ 41 w 84"/>
                <a:gd name="T53" fmla="*/ 60 h 137"/>
                <a:gd name="T54" fmla="*/ 30 w 84"/>
                <a:gd name="T55" fmla="*/ 66 h 137"/>
                <a:gd name="T56" fmla="*/ 26 w 84"/>
                <a:gd name="T57" fmla="*/ 85 h 137"/>
                <a:gd name="T58" fmla="*/ 27 w 84"/>
                <a:gd name="T59" fmla="*/ 98 h 137"/>
                <a:gd name="T60" fmla="*/ 31 w 84"/>
                <a:gd name="T61" fmla="*/ 106 h 137"/>
                <a:gd name="T62" fmla="*/ 36 w 84"/>
                <a:gd name="T63" fmla="*/ 111 h 137"/>
                <a:gd name="T64" fmla="*/ 43 w 84"/>
                <a:gd name="T65" fmla="*/ 113 h 137"/>
                <a:gd name="T66" fmla="*/ 48 w 84"/>
                <a:gd name="T67" fmla="*/ 112 h 137"/>
                <a:gd name="T68" fmla="*/ 52 w 84"/>
                <a:gd name="T69" fmla="*/ 111 h 137"/>
                <a:gd name="T70" fmla="*/ 56 w 84"/>
                <a:gd name="T71" fmla="*/ 108 h 137"/>
                <a:gd name="T72" fmla="*/ 58 w 84"/>
                <a:gd name="T73" fmla="*/ 105 h 137"/>
                <a:gd name="T74" fmla="*/ 58 w 84"/>
                <a:gd name="T75" fmla="*/ 68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4" h="137">
                  <a:moveTo>
                    <a:pt x="58" y="135"/>
                  </a:moveTo>
                  <a:cubicBezTo>
                    <a:pt x="58" y="129"/>
                    <a:pt x="58" y="129"/>
                    <a:pt x="58" y="129"/>
                  </a:cubicBezTo>
                  <a:cubicBezTo>
                    <a:pt x="57" y="130"/>
                    <a:pt x="56" y="131"/>
                    <a:pt x="55" y="132"/>
                  </a:cubicBezTo>
                  <a:cubicBezTo>
                    <a:pt x="53" y="133"/>
                    <a:pt x="52" y="134"/>
                    <a:pt x="50" y="135"/>
                  </a:cubicBezTo>
                  <a:cubicBezTo>
                    <a:pt x="48" y="136"/>
                    <a:pt x="47" y="136"/>
                    <a:pt x="45" y="137"/>
                  </a:cubicBezTo>
                  <a:cubicBezTo>
                    <a:pt x="43" y="137"/>
                    <a:pt x="40" y="137"/>
                    <a:pt x="38" y="137"/>
                  </a:cubicBezTo>
                  <a:cubicBezTo>
                    <a:pt x="33" y="137"/>
                    <a:pt x="28" y="136"/>
                    <a:pt x="23" y="134"/>
                  </a:cubicBezTo>
                  <a:cubicBezTo>
                    <a:pt x="19" y="132"/>
                    <a:pt x="15" y="129"/>
                    <a:pt x="11" y="125"/>
                  </a:cubicBezTo>
                  <a:cubicBezTo>
                    <a:pt x="8" y="121"/>
                    <a:pt x="5" y="115"/>
                    <a:pt x="3" y="109"/>
                  </a:cubicBezTo>
                  <a:cubicBezTo>
                    <a:pt x="1" y="102"/>
                    <a:pt x="0" y="94"/>
                    <a:pt x="0" y="85"/>
                  </a:cubicBezTo>
                  <a:cubicBezTo>
                    <a:pt x="0" y="78"/>
                    <a:pt x="1" y="71"/>
                    <a:pt x="3" y="65"/>
                  </a:cubicBezTo>
                  <a:cubicBezTo>
                    <a:pt x="4" y="59"/>
                    <a:pt x="7" y="54"/>
                    <a:pt x="10" y="50"/>
                  </a:cubicBezTo>
                  <a:cubicBezTo>
                    <a:pt x="13" y="45"/>
                    <a:pt x="17" y="42"/>
                    <a:pt x="22" y="40"/>
                  </a:cubicBezTo>
                  <a:cubicBezTo>
                    <a:pt x="27" y="37"/>
                    <a:pt x="32" y="36"/>
                    <a:pt x="38" y="36"/>
                  </a:cubicBezTo>
                  <a:cubicBezTo>
                    <a:pt x="40" y="36"/>
                    <a:pt x="42" y="36"/>
                    <a:pt x="44" y="36"/>
                  </a:cubicBezTo>
                  <a:cubicBezTo>
                    <a:pt x="46" y="37"/>
                    <a:pt x="48" y="37"/>
                    <a:pt x="50" y="38"/>
                  </a:cubicBezTo>
                  <a:cubicBezTo>
                    <a:pt x="52" y="39"/>
                    <a:pt x="53" y="40"/>
                    <a:pt x="55" y="41"/>
                  </a:cubicBezTo>
                  <a:cubicBezTo>
                    <a:pt x="56" y="42"/>
                    <a:pt x="57" y="42"/>
                    <a:pt x="58" y="44"/>
                  </a:cubicBezTo>
                  <a:cubicBezTo>
                    <a:pt x="58" y="13"/>
                    <a:pt x="58" y="13"/>
                    <a:pt x="58" y="13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135"/>
                    <a:pt x="84" y="135"/>
                    <a:pt x="84" y="135"/>
                  </a:cubicBezTo>
                  <a:lnTo>
                    <a:pt x="58" y="135"/>
                  </a:lnTo>
                  <a:close/>
                  <a:moveTo>
                    <a:pt x="58" y="68"/>
                  </a:moveTo>
                  <a:cubicBezTo>
                    <a:pt x="57" y="67"/>
                    <a:pt x="56" y="66"/>
                    <a:pt x="55" y="65"/>
                  </a:cubicBezTo>
                  <a:cubicBezTo>
                    <a:pt x="54" y="64"/>
                    <a:pt x="53" y="63"/>
                    <a:pt x="52" y="62"/>
                  </a:cubicBezTo>
                  <a:cubicBezTo>
                    <a:pt x="50" y="62"/>
                    <a:pt x="49" y="61"/>
                    <a:pt x="47" y="61"/>
                  </a:cubicBezTo>
                  <a:cubicBezTo>
                    <a:pt x="45" y="60"/>
                    <a:pt x="43" y="60"/>
                    <a:pt x="41" y="60"/>
                  </a:cubicBezTo>
                  <a:cubicBezTo>
                    <a:pt x="36" y="60"/>
                    <a:pt x="33" y="62"/>
                    <a:pt x="30" y="66"/>
                  </a:cubicBezTo>
                  <a:cubicBezTo>
                    <a:pt x="27" y="70"/>
                    <a:pt x="26" y="77"/>
                    <a:pt x="26" y="85"/>
                  </a:cubicBezTo>
                  <a:cubicBezTo>
                    <a:pt x="26" y="90"/>
                    <a:pt x="27" y="94"/>
                    <a:pt x="27" y="98"/>
                  </a:cubicBezTo>
                  <a:cubicBezTo>
                    <a:pt x="28" y="101"/>
                    <a:pt x="29" y="104"/>
                    <a:pt x="31" y="106"/>
                  </a:cubicBezTo>
                  <a:cubicBezTo>
                    <a:pt x="32" y="109"/>
                    <a:pt x="34" y="110"/>
                    <a:pt x="36" y="111"/>
                  </a:cubicBezTo>
                  <a:cubicBezTo>
                    <a:pt x="38" y="113"/>
                    <a:pt x="40" y="113"/>
                    <a:pt x="43" y="113"/>
                  </a:cubicBezTo>
                  <a:cubicBezTo>
                    <a:pt x="45" y="113"/>
                    <a:pt x="46" y="113"/>
                    <a:pt x="48" y="112"/>
                  </a:cubicBezTo>
                  <a:cubicBezTo>
                    <a:pt x="50" y="112"/>
                    <a:pt x="51" y="112"/>
                    <a:pt x="52" y="111"/>
                  </a:cubicBezTo>
                  <a:cubicBezTo>
                    <a:pt x="53" y="110"/>
                    <a:pt x="55" y="109"/>
                    <a:pt x="56" y="108"/>
                  </a:cubicBezTo>
                  <a:cubicBezTo>
                    <a:pt x="57" y="107"/>
                    <a:pt x="58" y="106"/>
                    <a:pt x="58" y="105"/>
                  </a:cubicBezTo>
                  <a:lnTo>
                    <a:pt x="58" y="6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94" name="Freeform 18">
              <a:extLst>
                <a:ext uri="{FF2B5EF4-FFF2-40B4-BE49-F238E27FC236}">
                  <a16:creationId xmlns:a16="http://schemas.microsoft.com/office/drawing/2014/main" id="{DACB136F-C6ED-433D-9631-749BCDC77B78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9731769" y="1406980"/>
              <a:ext cx="19613" cy="91524"/>
            </a:xfrm>
            <a:custGeom>
              <a:avLst/>
              <a:gdLst>
                <a:gd name="T0" fmla="*/ 29 w 29"/>
                <a:gd name="T1" fmla="*/ 14 h 134"/>
                <a:gd name="T2" fmla="*/ 28 w 29"/>
                <a:gd name="T3" fmla="*/ 20 h 134"/>
                <a:gd name="T4" fmla="*/ 25 w 29"/>
                <a:gd name="T5" fmla="*/ 25 h 134"/>
                <a:gd name="T6" fmla="*/ 20 w 29"/>
                <a:gd name="T7" fmla="*/ 28 h 134"/>
                <a:gd name="T8" fmla="*/ 15 w 29"/>
                <a:gd name="T9" fmla="*/ 29 h 134"/>
                <a:gd name="T10" fmla="*/ 9 w 29"/>
                <a:gd name="T11" fmla="*/ 28 h 134"/>
                <a:gd name="T12" fmla="*/ 5 w 29"/>
                <a:gd name="T13" fmla="*/ 25 h 134"/>
                <a:gd name="T14" fmla="*/ 1 w 29"/>
                <a:gd name="T15" fmla="*/ 20 h 134"/>
                <a:gd name="T16" fmla="*/ 0 w 29"/>
                <a:gd name="T17" fmla="*/ 14 h 134"/>
                <a:gd name="T18" fmla="*/ 1 w 29"/>
                <a:gd name="T19" fmla="*/ 9 h 134"/>
                <a:gd name="T20" fmla="*/ 5 w 29"/>
                <a:gd name="T21" fmla="*/ 4 h 134"/>
                <a:gd name="T22" fmla="*/ 9 w 29"/>
                <a:gd name="T23" fmla="*/ 1 h 134"/>
                <a:gd name="T24" fmla="*/ 15 w 29"/>
                <a:gd name="T25" fmla="*/ 0 h 134"/>
                <a:gd name="T26" fmla="*/ 20 w 29"/>
                <a:gd name="T27" fmla="*/ 1 h 134"/>
                <a:gd name="T28" fmla="*/ 25 w 29"/>
                <a:gd name="T29" fmla="*/ 4 h 134"/>
                <a:gd name="T30" fmla="*/ 28 w 29"/>
                <a:gd name="T31" fmla="*/ 9 h 134"/>
                <a:gd name="T32" fmla="*/ 29 w 29"/>
                <a:gd name="T33" fmla="*/ 14 h 134"/>
                <a:gd name="T34" fmla="*/ 2 w 29"/>
                <a:gd name="T35" fmla="*/ 134 h 134"/>
                <a:gd name="T36" fmla="*/ 2 w 29"/>
                <a:gd name="T37" fmla="*/ 37 h 134"/>
                <a:gd name="T38" fmla="*/ 28 w 29"/>
                <a:gd name="T39" fmla="*/ 37 h 134"/>
                <a:gd name="T40" fmla="*/ 28 w 29"/>
                <a:gd name="T41" fmla="*/ 134 h 134"/>
                <a:gd name="T42" fmla="*/ 2 w 29"/>
                <a:gd name="T43" fmla="*/ 134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9" h="134">
                  <a:moveTo>
                    <a:pt x="29" y="14"/>
                  </a:moveTo>
                  <a:cubicBezTo>
                    <a:pt x="29" y="16"/>
                    <a:pt x="29" y="18"/>
                    <a:pt x="28" y="20"/>
                  </a:cubicBezTo>
                  <a:cubicBezTo>
                    <a:pt x="28" y="22"/>
                    <a:pt x="26" y="23"/>
                    <a:pt x="25" y="25"/>
                  </a:cubicBezTo>
                  <a:cubicBezTo>
                    <a:pt x="24" y="26"/>
                    <a:pt x="22" y="27"/>
                    <a:pt x="20" y="28"/>
                  </a:cubicBezTo>
                  <a:cubicBezTo>
                    <a:pt x="19" y="29"/>
                    <a:pt x="17" y="29"/>
                    <a:pt x="15" y="29"/>
                  </a:cubicBezTo>
                  <a:cubicBezTo>
                    <a:pt x="13" y="29"/>
                    <a:pt x="11" y="29"/>
                    <a:pt x="9" y="28"/>
                  </a:cubicBezTo>
                  <a:cubicBezTo>
                    <a:pt x="7" y="27"/>
                    <a:pt x="6" y="26"/>
                    <a:pt x="5" y="25"/>
                  </a:cubicBezTo>
                  <a:cubicBezTo>
                    <a:pt x="3" y="23"/>
                    <a:pt x="2" y="22"/>
                    <a:pt x="1" y="20"/>
                  </a:cubicBezTo>
                  <a:cubicBezTo>
                    <a:pt x="1" y="18"/>
                    <a:pt x="0" y="16"/>
                    <a:pt x="0" y="14"/>
                  </a:cubicBezTo>
                  <a:cubicBezTo>
                    <a:pt x="0" y="12"/>
                    <a:pt x="1" y="11"/>
                    <a:pt x="1" y="9"/>
                  </a:cubicBezTo>
                  <a:cubicBezTo>
                    <a:pt x="2" y="7"/>
                    <a:pt x="3" y="5"/>
                    <a:pt x="5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2" y="2"/>
                    <a:pt x="24" y="3"/>
                    <a:pt x="25" y="4"/>
                  </a:cubicBezTo>
                  <a:cubicBezTo>
                    <a:pt x="26" y="5"/>
                    <a:pt x="28" y="7"/>
                    <a:pt x="28" y="9"/>
                  </a:cubicBezTo>
                  <a:cubicBezTo>
                    <a:pt x="29" y="11"/>
                    <a:pt x="29" y="12"/>
                    <a:pt x="29" y="14"/>
                  </a:cubicBezTo>
                  <a:close/>
                  <a:moveTo>
                    <a:pt x="2" y="134"/>
                  </a:moveTo>
                  <a:cubicBezTo>
                    <a:pt x="2" y="37"/>
                    <a:pt x="2" y="37"/>
                    <a:pt x="2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134"/>
                    <a:pt x="28" y="134"/>
                    <a:pt x="28" y="134"/>
                  </a:cubicBezTo>
                  <a:lnTo>
                    <a:pt x="2" y="1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95" name="Freeform 19">
              <a:extLst>
                <a:ext uri="{FF2B5EF4-FFF2-40B4-BE49-F238E27FC236}">
                  <a16:creationId xmlns:a16="http://schemas.microsoft.com/office/drawing/2014/main" id="{922FADCD-4917-47C7-ADDB-1574B3C49CA8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9767071" y="1430515"/>
              <a:ext cx="58837" cy="67989"/>
            </a:xfrm>
            <a:custGeom>
              <a:avLst/>
              <a:gdLst>
                <a:gd name="T0" fmla="*/ 59 w 85"/>
                <a:gd name="T1" fmla="*/ 99 h 99"/>
                <a:gd name="T2" fmla="*/ 59 w 85"/>
                <a:gd name="T3" fmla="*/ 47 h 99"/>
                <a:gd name="T4" fmla="*/ 55 w 85"/>
                <a:gd name="T5" fmla="*/ 30 h 99"/>
                <a:gd name="T6" fmla="*/ 43 w 85"/>
                <a:gd name="T7" fmla="*/ 24 h 99"/>
                <a:gd name="T8" fmla="*/ 35 w 85"/>
                <a:gd name="T9" fmla="*/ 25 h 99"/>
                <a:gd name="T10" fmla="*/ 30 w 85"/>
                <a:gd name="T11" fmla="*/ 29 h 99"/>
                <a:gd name="T12" fmla="*/ 27 w 85"/>
                <a:gd name="T13" fmla="*/ 35 h 99"/>
                <a:gd name="T14" fmla="*/ 26 w 85"/>
                <a:gd name="T15" fmla="*/ 46 h 99"/>
                <a:gd name="T16" fmla="*/ 26 w 85"/>
                <a:gd name="T17" fmla="*/ 99 h 99"/>
                <a:gd name="T18" fmla="*/ 0 w 85"/>
                <a:gd name="T19" fmla="*/ 99 h 99"/>
                <a:gd name="T20" fmla="*/ 0 w 85"/>
                <a:gd name="T21" fmla="*/ 2 h 99"/>
                <a:gd name="T22" fmla="*/ 26 w 85"/>
                <a:gd name="T23" fmla="*/ 2 h 99"/>
                <a:gd name="T24" fmla="*/ 26 w 85"/>
                <a:gd name="T25" fmla="*/ 8 h 99"/>
                <a:gd name="T26" fmla="*/ 30 w 85"/>
                <a:gd name="T27" fmla="*/ 5 h 99"/>
                <a:gd name="T28" fmla="*/ 35 w 85"/>
                <a:gd name="T29" fmla="*/ 2 h 99"/>
                <a:gd name="T30" fmla="*/ 42 w 85"/>
                <a:gd name="T31" fmla="*/ 1 h 99"/>
                <a:gd name="T32" fmla="*/ 49 w 85"/>
                <a:gd name="T33" fmla="*/ 0 h 99"/>
                <a:gd name="T34" fmla="*/ 65 w 85"/>
                <a:gd name="T35" fmla="*/ 3 h 99"/>
                <a:gd name="T36" fmla="*/ 76 w 85"/>
                <a:gd name="T37" fmla="*/ 12 h 99"/>
                <a:gd name="T38" fmla="*/ 82 w 85"/>
                <a:gd name="T39" fmla="*/ 26 h 99"/>
                <a:gd name="T40" fmla="*/ 85 w 85"/>
                <a:gd name="T41" fmla="*/ 44 h 99"/>
                <a:gd name="T42" fmla="*/ 85 w 85"/>
                <a:gd name="T43" fmla="*/ 99 h 99"/>
                <a:gd name="T44" fmla="*/ 59 w 85"/>
                <a:gd name="T45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5" h="99">
                  <a:moveTo>
                    <a:pt x="59" y="99"/>
                  </a:moveTo>
                  <a:cubicBezTo>
                    <a:pt x="59" y="47"/>
                    <a:pt x="59" y="47"/>
                    <a:pt x="59" y="47"/>
                  </a:cubicBezTo>
                  <a:cubicBezTo>
                    <a:pt x="59" y="39"/>
                    <a:pt x="58" y="33"/>
                    <a:pt x="55" y="30"/>
                  </a:cubicBezTo>
                  <a:cubicBezTo>
                    <a:pt x="53" y="26"/>
                    <a:pt x="49" y="24"/>
                    <a:pt x="43" y="24"/>
                  </a:cubicBezTo>
                  <a:cubicBezTo>
                    <a:pt x="40" y="24"/>
                    <a:pt x="38" y="24"/>
                    <a:pt x="35" y="25"/>
                  </a:cubicBezTo>
                  <a:cubicBezTo>
                    <a:pt x="33" y="26"/>
                    <a:pt x="32" y="27"/>
                    <a:pt x="30" y="29"/>
                  </a:cubicBezTo>
                  <a:cubicBezTo>
                    <a:pt x="29" y="30"/>
                    <a:pt x="28" y="33"/>
                    <a:pt x="27" y="35"/>
                  </a:cubicBezTo>
                  <a:cubicBezTo>
                    <a:pt x="26" y="38"/>
                    <a:pt x="26" y="42"/>
                    <a:pt x="26" y="46"/>
                  </a:cubicBezTo>
                  <a:cubicBezTo>
                    <a:pt x="26" y="99"/>
                    <a:pt x="26" y="99"/>
                    <a:pt x="26" y="99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7" y="7"/>
                    <a:pt x="28" y="6"/>
                    <a:pt x="30" y="5"/>
                  </a:cubicBezTo>
                  <a:cubicBezTo>
                    <a:pt x="31" y="4"/>
                    <a:pt x="33" y="3"/>
                    <a:pt x="35" y="2"/>
                  </a:cubicBezTo>
                  <a:cubicBezTo>
                    <a:pt x="37" y="2"/>
                    <a:pt x="39" y="1"/>
                    <a:pt x="42" y="1"/>
                  </a:cubicBezTo>
                  <a:cubicBezTo>
                    <a:pt x="44" y="0"/>
                    <a:pt x="46" y="0"/>
                    <a:pt x="49" y="0"/>
                  </a:cubicBezTo>
                  <a:cubicBezTo>
                    <a:pt x="55" y="0"/>
                    <a:pt x="60" y="1"/>
                    <a:pt x="65" y="3"/>
                  </a:cubicBezTo>
                  <a:cubicBezTo>
                    <a:pt x="69" y="5"/>
                    <a:pt x="73" y="8"/>
                    <a:pt x="76" y="12"/>
                  </a:cubicBezTo>
                  <a:cubicBezTo>
                    <a:pt x="79" y="16"/>
                    <a:pt x="81" y="20"/>
                    <a:pt x="82" y="26"/>
                  </a:cubicBezTo>
                  <a:cubicBezTo>
                    <a:pt x="84" y="31"/>
                    <a:pt x="85" y="38"/>
                    <a:pt x="85" y="44"/>
                  </a:cubicBezTo>
                  <a:cubicBezTo>
                    <a:pt x="85" y="99"/>
                    <a:pt x="85" y="99"/>
                    <a:pt x="85" y="99"/>
                  </a:cubicBezTo>
                  <a:lnTo>
                    <a:pt x="59" y="9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96" name="Freeform 20">
              <a:extLst>
                <a:ext uri="{FF2B5EF4-FFF2-40B4-BE49-F238E27FC236}">
                  <a16:creationId xmlns:a16="http://schemas.microsoft.com/office/drawing/2014/main" id="{EEA96631-7CCE-49D6-A700-D76FF986E47F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9880823" y="1410902"/>
              <a:ext cx="71912" cy="87602"/>
            </a:xfrm>
            <a:custGeom>
              <a:avLst/>
              <a:gdLst>
                <a:gd name="T0" fmla="*/ 105 w 105"/>
                <a:gd name="T1" fmla="*/ 64 h 129"/>
                <a:gd name="T2" fmla="*/ 103 w 105"/>
                <a:gd name="T3" fmla="*/ 85 h 129"/>
                <a:gd name="T4" fmla="*/ 96 w 105"/>
                <a:gd name="T5" fmla="*/ 101 h 129"/>
                <a:gd name="T6" fmla="*/ 85 w 105"/>
                <a:gd name="T7" fmla="*/ 114 h 129"/>
                <a:gd name="T8" fmla="*/ 71 w 105"/>
                <a:gd name="T9" fmla="*/ 122 h 129"/>
                <a:gd name="T10" fmla="*/ 55 w 105"/>
                <a:gd name="T11" fmla="*/ 128 h 129"/>
                <a:gd name="T12" fmla="*/ 39 w 105"/>
                <a:gd name="T13" fmla="*/ 129 h 129"/>
                <a:gd name="T14" fmla="*/ 0 w 105"/>
                <a:gd name="T15" fmla="*/ 129 h 129"/>
                <a:gd name="T16" fmla="*/ 0 w 105"/>
                <a:gd name="T17" fmla="*/ 0 h 129"/>
                <a:gd name="T18" fmla="*/ 41 w 105"/>
                <a:gd name="T19" fmla="*/ 0 h 129"/>
                <a:gd name="T20" fmla="*/ 67 w 105"/>
                <a:gd name="T21" fmla="*/ 3 h 129"/>
                <a:gd name="T22" fmla="*/ 87 w 105"/>
                <a:gd name="T23" fmla="*/ 14 h 129"/>
                <a:gd name="T24" fmla="*/ 100 w 105"/>
                <a:gd name="T25" fmla="*/ 34 h 129"/>
                <a:gd name="T26" fmla="*/ 105 w 105"/>
                <a:gd name="T27" fmla="*/ 64 h 129"/>
                <a:gd name="T28" fmla="*/ 79 w 105"/>
                <a:gd name="T29" fmla="*/ 64 h 129"/>
                <a:gd name="T30" fmla="*/ 76 w 105"/>
                <a:gd name="T31" fmla="*/ 47 h 129"/>
                <a:gd name="T32" fmla="*/ 70 w 105"/>
                <a:gd name="T33" fmla="*/ 35 h 129"/>
                <a:gd name="T34" fmla="*/ 58 w 105"/>
                <a:gd name="T35" fmla="*/ 27 h 129"/>
                <a:gd name="T36" fmla="*/ 40 w 105"/>
                <a:gd name="T37" fmla="*/ 25 h 129"/>
                <a:gd name="T38" fmla="*/ 26 w 105"/>
                <a:gd name="T39" fmla="*/ 25 h 129"/>
                <a:gd name="T40" fmla="*/ 26 w 105"/>
                <a:gd name="T41" fmla="*/ 104 h 129"/>
                <a:gd name="T42" fmla="*/ 39 w 105"/>
                <a:gd name="T43" fmla="*/ 104 h 129"/>
                <a:gd name="T44" fmla="*/ 57 w 105"/>
                <a:gd name="T45" fmla="*/ 101 h 129"/>
                <a:gd name="T46" fmla="*/ 69 w 105"/>
                <a:gd name="T47" fmla="*/ 93 h 129"/>
                <a:gd name="T48" fmla="*/ 76 w 105"/>
                <a:gd name="T49" fmla="*/ 81 h 129"/>
                <a:gd name="T50" fmla="*/ 79 w 105"/>
                <a:gd name="T51" fmla="*/ 64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5" h="129">
                  <a:moveTo>
                    <a:pt x="105" y="64"/>
                  </a:moveTo>
                  <a:cubicBezTo>
                    <a:pt x="105" y="72"/>
                    <a:pt x="104" y="79"/>
                    <a:pt x="103" y="85"/>
                  </a:cubicBezTo>
                  <a:cubicBezTo>
                    <a:pt x="101" y="91"/>
                    <a:pt x="99" y="97"/>
                    <a:pt x="96" y="101"/>
                  </a:cubicBezTo>
                  <a:cubicBezTo>
                    <a:pt x="92" y="106"/>
                    <a:pt x="89" y="110"/>
                    <a:pt x="85" y="114"/>
                  </a:cubicBezTo>
                  <a:cubicBezTo>
                    <a:pt x="80" y="117"/>
                    <a:pt x="76" y="120"/>
                    <a:pt x="71" y="122"/>
                  </a:cubicBezTo>
                  <a:cubicBezTo>
                    <a:pt x="66" y="125"/>
                    <a:pt x="61" y="126"/>
                    <a:pt x="55" y="128"/>
                  </a:cubicBezTo>
                  <a:cubicBezTo>
                    <a:pt x="50" y="129"/>
                    <a:pt x="44" y="129"/>
                    <a:pt x="39" y="129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50" y="0"/>
                    <a:pt x="59" y="1"/>
                    <a:pt x="67" y="3"/>
                  </a:cubicBezTo>
                  <a:cubicBezTo>
                    <a:pt x="74" y="5"/>
                    <a:pt x="81" y="9"/>
                    <a:pt x="87" y="14"/>
                  </a:cubicBezTo>
                  <a:cubicBezTo>
                    <a:pt x="93" y="19"/>
                    <a:pt x="97" y="26"/>
                    <a:pt x="100" y="34"/>
                  </a:cubicBezTo>
                  <a:cubicBezTo>
                    <a:pt x="104" y="43"/>
                    <a:pt x="105" y="53"/>
                    <a:pt x="105" y="64"/>
                  </a:cubicBezTo>
                  <a:close/>
                  <a:moveTo>
                    <a:pt x="79" y="64"/>
                  </a:moveTo>
                  <a:cubicBezTo>
                    <a:pt x="79" y="58"/>
                    <a:pt x="78" y="52"/>
                    <a:pt x="76" y="47"/>
                  </a:cubicBezTo>
                  <a:cubicBezTo>
                    <a:pt x="75" y="42"/>
                    <a:pt x="73" y="38"/>
                    <a:pt x="70" y="35"/>
                  </a:cubicBezTo>
                  <a:cubicBezTo>
                    <a:pt x="66" y="31"/>
                    <a:pt x="62" y="29"/>
                    <a:pt x="58" y="27"/>
                  </a:cubicBezTo>
                  <a:cubicBezTo>
                    <a:pt x="53" y="26"/>
                    <a:pt x="47" y="25"/>
                    <a:pt x="40" y="25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6" y="104"/>
                    <a:pt x="26" y="104"/>
                    <a:pt x="26" y="104"/>
                  </a:cubicBezTo>
                  <a:cubicBezTo>
                    <a:pt x="39" y="104"/>
                    <a:pt x="39" y="104"/>
                    <a:pt x="39" y="104"/>
                  </a:cubicBezTo>
                  <a:cubicBezTo>
                    <a:pt x="46" y="104"/>
                    <a:pt x="52" y="103"/>
                    <a:pt x="57" y="101"/>
                  </a:cubicBezTo>
                  <a:cubicBezTo>
                    <a:pt x="62" y="99"/>
                    <a:pt x="66" y="97"/>
                    <a:pt x="69" y="93"/>
                  </a:cubicBezTo>
                  <a:cubicBezTo>
                    <a:pt x="72" y="90"/>
                    <a:pt x="75" y="85"/>
                    <a:pt x="76" y="81"/>
                  </a:cubicBezTo>
                  <a:cubicBezTo>
                    <a:pt x="78" y="76"/>
                    <a:pt x="79" y="70"/>
                    <a:pt x="79" y="6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97" name="Freeform 21">
              <a:extLst>
                <a:ext uri="{FF2B5EF4-FFF2-40B4-BE49-F238E27FC236}">
                  <a16:creationId xmlns:a16="http://schemas.microsoft.com/office/drawing/2014/main" id="{4BB24B6E-8D3D-449A-850B-52F8A8EF40A7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9964502" y="1430515"/>
              <a:ext cx="56222" cy="69297"/>
            </a:xfrm>
            <a:custGeom>
              <a:avLst/>
              <a:gdLst>
                <a:gd name="T0" fmla="*/ 84 w 84"/>
                <a:gd name="T1" fmla="*/ 51 h 101"/>
                <a:gd name="T2" fmla="*/ 84 w 84"/>
                <a:gd name="T3" fmla="*/ 55 h 101"/>
                <a:gd name="T4" fmla="*/ 84 w 84"/>
                <a:gd name="T5" fmla="*/ 59 h 101"/>
                <a:gd name="T6" fmla="*/ 26 w 84"/>
                <a:gd name="T7" fmla="*/ 59 h 101"/>
                <a:gd name="T8" fmla="*/ 28 w 84"/>
                <a:gd name="T9" fmla="*/ 67 h 101"/>
                <a:gd name="T10" fmla="*/ 32 w 84"/>
                <a:gd name="T11" fmla="*/ 73 h 101"/>
                <a:gd name="T12" fmla="*/ 39 w 84"/>
                <a:gd name="T13" fmla="*/ 76 h 101"/>
                <a:gd name="T14" fmla="*/ 46 w 84"/>
                <a:gd name="T15" fmla="*/ 77 h 101"/>
                <a:gd name="T16" fmla="*/ 50 w 84"/>
                <a:gd name="T17" fmla="*/ 77 h 101"/>
                <a:gd name="T18" fmla="*/ 55 w 84"/>
                <a:gd name="T19" fmla="*/ 75 h 101"/>
                <a:gd name="T20" fmla="*/ 59 w 84"/>
                <a:gd name="T21" fmla="*/ 73 h 101"/>
                <a:gd name="T22" fmla="*/ 62 w 84"/>
                <a:gd name="T23" fmla="*/ 70 h 101"/>
                <a:gd name="T24" fmla="*/ 80 w 84"/>
                <a:gd name="T25" fmla="*/ 85 h 101"/>
                <a:gd name="T26" fmla="*/ 74 w 84"/>
                <a:gd name="T27" fmla="*/ 92 h 101"/>
                <a:gd name="T28" fmla="*/ 65 w 84"/>
                <a:gd name="T29" fmla="*/ 97 h 101"/>
                <a:gd name="T30" fmla="*/ 55 w 84"/>
                <a:gd name="T31" fmla="*/ 100 h 101"/>
                <a:gd name="T32" fmla="*/ 46 w 84"/>
                <a:gd name="T33" fmla="*/ 101 h 101"/>
                <a:gd name="T34" fmla="*/ 31 w 84"/>
                <a:gd name="T35" fmla="*/ 99 h 101"/>
                <a:gd name="T36" fmla="*/ 20 w 84"/>
                <a:gd name="T37" fmla="*/ 94 h 101"/>
                <a:gd name="T38" fmla="*/ 12 w 84"/>
                <a:gd name="T39" fmla="*/ 87 h 101"/>
                <a:gd name="T40" fmla="*/ 5 w 84"/>
                <a:gd name="T41" fmla="*/ 77 h 101"/>
                <a:gd name="T42" fmla="*/ 1 w 84"/>
                <a:gd name="T43" fmla="*/ 65 h 101"/>
                <a:gd name="T44" fmla="*/ 0 w 84"/>
                <a:gd name="T45" fmla="*/ 51 h 101"/>
                <a:gd name="T46" fmla="*/ 3 w 84"/>
                <a:gd name="T47" fmla="*/ 30 h 101"/>
                <a:gd name="T48" fmla="*/ 12 w 84"/>
                <a:gd name="T49" fmla="*/ 14 h 101"/>
                <a:gd name="T50" fmla="*/ 26 w 84"/>
                <a:gd name="T51" fmla="*/ 4 h 101"/>
                <a:gd name="T52" fmla="*/ 43 w 84"/>
                <a:gd name="T53" fmla="*/ 0 h 101"/>
                <a:gd name="T54" fmla="*/ 61 w 84"/>
                <a:gd name="T55" fmla="*/ 4 h 101"/>
                <a:gd name="T56" fmla="*/ 73 w 84"/>
                <a:gd name="T57" fmla="*/ 15 h 101"/>
                <a:gd name="T58" fmla="*/ 81 w 84"/>
                <a:gd name="T59" fmla="*/ 31 h 101"/>
                <a:gd name="T60" fmla="*/ 84 w 84"/>
                <a:gd name="T61" fmla="*/ 51 h 101"/>
                <a:gd name="T62" fmla="*/ 59 w 84"/>
                <a:gd name="T63" fmla="*/ 40 h 101"/>
                <a:gd name="T64" fmla="*/ 58 w 84"/>
                <a:gd name="T65" fmla="*/ 33 h 101"/>
                <a:gd name="T66" fmla="*/ 55 w 84"/>
                <a:gd name="T67" fmla="*/ 28 h 101"/>
                <a:gd name="T68" fmla="*/ 49 w 84"/>
                <a:gd name="T69" fmla="*/ 24 h 101"/>
                <a:gd name="T70" fmla="*/ 42 w 84"/>
                <a:gd name="T71" fmla="*/ 22 h 101"/>
                <a:gd name="T72" fmla="*/ 36 w 84"/>
                <a:gd name="T73" fmla="*/ 24 h 101"/>
                <a:gd name="T74" fmla="*/ 31 w 84"/>
                <a:gd name="T75" fmla="*/ 27 h 101"/>
                <a:gd name="T76" fmla="*/ 28 w 84"/>
                <a:gd name="T77" fmla="*/ 33 h 101"/>
                <a:gd name="T78" fmla="*/ 26 w 84"/>
                <a:gd name="T79" fmla="*/ 40 h 101"/>
                <a:gd name="T80" fmla="*/ 59 w 84"/>
                <a:gd name="T81" fmla="*/ 4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4" h="101">
                  <a:moveTo>
                    <a:pt x="84" y="51"/>
                  </a:moveTo>
                  <a:cubicBezTo>
                    <a:pt x="84" y="52"/>
                    <a:pt x="84" y="54"/>
                    <a:pt x="84" y="55"/>
                  </a:cubicBezTo>
                  <a:cubicBezTo>
                    <a:pt x="84" y="57"/>
                    <a:pt x="84" y="58"/>
                    <a:pt x="84" y="59"/>
                  </a:cubicBezTo>
                  <a:cubicBezTo>
                    <a:pt x="26" y="59"/>
                    <a:pt x="26" y="59"/>
                    <a:pt x="26" y="59"/>
                  </a:cubicBezTo>
                  <a:cubicBezTo>
                    <a:pt x="26" y="62"/>
                    <a:pt x="27" y="65"/>
                    <a:pt x="28" y="67"/>
                  </a:cubicBezTo>
                  <a:cubicBezTo>
                    <a:pt x="29" y="70"/>
                    <a:pt x="31" y="71"/>
                    <a:pt x="32" y="73"/>
                  </a:cubicBezTo>
                  <a:cubicBezTo>
                    <a:pt x="34" y="74"/>
                    <a:pt x="36" y="75"/>
                    <a:pt x="39" y="76"/>
                  </a:cubicBezTo>
                  <a:cubicBezTo>
                    <a:pt x="41" y="77"/>
                    <a:pt x="43" y="77"/>
                    <a:pt x="46" y="77"/>
                  </a:cubicBezTo>
                  <a:cubicBezTo>
                    <a:pt x="47" y="77"/>
                    <a:pt x="49" y="77"/>
                    <a:pt x="50" y="77"/>
                  </a:cubicBezTo>
                  <a:cubicBezTo>
                    <a:pt x="52" y="76"/>
                    <a:pt x="54" y="76"/>
                    <a:pt x="55" y="75"/>
                  </a:cubicBezTo>
                  <a:cubicBezTo>
                    <a:pt x="57" y="75"/>
                    <a:pt x="58" y="74"/>
                    <a:pt x="59" y="73"/>
                  </a:cubicBezTo>
                  <a:cubicBezTo>
                    <a:pt x="60" y="72"/>
                    <a:pt x="61" y="71"/>
                    <a:pt x="62" y="70"/>
                  </a:cubicBezTo>
                  <a:cubicBezTo>
                    <a:pt x="80" y="85"/>
                    <a:pt x="80" y="85"/>
                    <a:pt x="80" y="85"/>
                  </a:cubicBezTo>
                  <a:cubicBezTo>
                    <a:pt x="78" y="88"/>
                    <a:pt x="76" y="90"/>
                    <a:pt x="74" y="92"/>
                  </a:cubicBezTo>
                  <a:cubicBezTo>
                    <a:pt x="71" y="94"/>
                    <a:pt x="68" y="96"/>
                    <a:pt x="65" y="97"/>
                  </a:cubicBezTo>
                  <a:cubicBezTo>
                    <a:pt x="62" y="98"/>
                    <a:pt x="59" y="99"/>
                    <a:pt x="55" y="100"/>
                  </a:cubicBezTo>
                  <a:cubicBezTo>
                    <a:pt x="52" y="101"/>
                    <a:pt x="49" y="101"/>
                    <a:pt x="46" y="101"/>
                  </a:cubicBezTo>
                  <a:cubicBezTo>
                    <a:pt x="40" y="101"/>
                    <a:pt x="35" y="101"/>
                    <a:pt x="31" y="99"/>
                  </a:cubicBezTo>
                  <a:cubicBezTo>
                    <a:pt x="27" y="98"/>
                    <a:pt x="23" y="96"/>
                    <a:pt x="20" y="94"/>
                  </a:cubicBezTo>
                  <a:cubicBezTo>
                    <a:pt x="17" y="92"/>
                    <a:pt x="14" y="89"/>
                    <a:pt x="12" y="87"/>
                  </a:cubicBezTo>
                  <a:cubicBezTo>
                    <a:pt x="9" y="84"/>
                    <a:pt x="7" y="80"/>
                    <a:pt x="5" y="77"/>
                  </a:cubicBezTo>
                  <a:cubicBezTo>
                    <a:pt x="4" y="73"/>
                    <a:pt x="2" y="69"/>
                    <a:pt x="1" y="65"/>
                  </a:cubicBezTo>
                  <a:cubicBezTo>
                    <a:pt x="0" y="61"/>
                    <a:pt x="0" y="56"/>
                    <a:pt x="0" y="51"/>
                  </a:cubicBezTo>
                  <a:cubicBezTo>
                    <a:pt x="0" y="43"/>
                    <a:pt x="1" y="36"/>
                    <a:pt x="3" y="30"/>
                  </a:cubicBezTo>
                  <a:cubicBezTo>
                    <a:pt x="5" y="24"/>
                    <a:pt x="8" y="19"/>
                    <a:pt x="12" y="14"/>
                  </a:cubicBezTo>
                  <a:cubicBezTo>
                    <a:pt x="16" y="10"/>
                    <a:pt x="21" y="6"/>
                    <a:pt x="26" y="4"/>
                  </a:cubicBezTo>
                  <a:cubicBezTo>
                    <a:pt x="31" y="1"/>
                    <a:pt x="37" y="0"/>
                    <a:pt x="43" y="0"/>
                  </a:cubicBezTo>
                  <a:cubicBezTo>
                    <a:pt x="50" y="0"/>
                    <a:pt x="55" y="1"/>
                    <a:pt x="61" y="4"/>
                  </a:cubicBezTo>
                  <a:cubicBezTo>
                    <a:pt x="66" y="7"/>
                    <a:pt x="70" y="10"/>
                    <a:pt x="73" y="15"/>
                  </a:cubicBezTo>
                  <a:cubicBezTo>
                    <a:pt x="77" y="19"/>
                    <a:pt x="79" y="25"/>
                    <a:pt x="81" y="31"/>
                  </a:cubicBezTo>
                  <a:cubicBezTo>
                    <a:pt x="83" y="37"/>
                    <a:pt x="84" y="44"/>
                    <a:pt x="84" y="51"/>
                  </a:cubicBezTo>
                  <a:close/>
                  <a:moveTo>
                    <a:pt x="59" y="40"/>
                  </a:moveTo>
                  <a:cubicBezTo>
                    <a:pt x="59" y="37"/>
                    <a:pt x="59" y="35"/>
                    <a:pt x="58" y="33"/>
                  </a:cubicBezTo>
                  <a:cubicBezTo>
                    <a:pt x="57" y="31"/>
                    <a:pt x="56" y="29"/>
                    <a:pt x="55" y="28"/>
                  </a:cubicBezTo>
                  <a:cubicBezTo>
                    <a:pt x="53" y="26"/>
                    <a:pt x="51" y="25"/>
                    <a:pt x="49" y="24"/>
                  </a:cubicBezTo>
                  <a:cubicBezTo>
                    <a:pt x="47" y="23"/>
                    <a:pt x="45" y="22"/>
                    <a:pt x="42" y="22"/>
                  </a:cubicBezTo>
                  <a:cubicBezTo>
                    <a:pt x="40" y="22"/>
                    <a:pt x="37" y="23"/>
                    <a:pt x="36" y="24"/>
                  </a:cubicBezTo>
                  <a:cubicBezTo>
                    <a:pt x="34" y="24"/>
                    <a:pt x="32" y="26"/>
                    <a:pt x="31" y="27"/>
                  </a:cubicBezTo>
                  <a:cubicBezTo>
                    <a:pt x="29" y="29"/>
                    <a:pt x="28" y="31"/>
                    <a:pt x="28" y="33"/>
                  </a:cubicBezTo>
                  <a:cubicBezTo>
                    <a:pt x="27" y="35"/>
                    <a:pt x="26" y="37"/>
                    <a:pt x="26" y="40"/>
                  </a:cubicBezTo>
                  <a:lnTo>
                    <a:pt x="59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98" name="Freeform 22">
              <a:extLst>
                <a:ext uri="{FF2B5EF4-FFF2-40B4-BE49-F238E27FC236}">
                  <a16:creationId xmlns:a16="http://schemas.microsoft.com/office/drawing/2014/main" id="{767CA49F-CF78-4517-9D40-459A6165DB66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035106" y="1431822"/>
              <a:ext cx="57529" cy="67989"/>
            </a:xfrm>
            <a:custGeom>
              <a:avLst/>
              <a:gdLst>
                <a:gd name="T0" fmla="*/ 58 w 84"/>
                <a:gd name="T1" fmla="*/ 97 h 99"/>
                <a:gd name="T2" fmla="*/ 58 w 84"/>
                <a:gd name="T3" fmla="*/ 91 h 99"/>
                <a:gd name="T4" fmla="*/ 49 w 84"/>
                <a:gd name="T5" fmla="*/ 97 h 99"/>
                <a:gd name="T6" fmla="*/ 35 w 84"/>
                <a:gd name="T7" fmla="*/ 99 h 99"/>
                <a:gd name="T8" fmla="*/ 9 w 84"/>
                <a:gd name="T9" fmla="*/ 88 h 99"/>
                <a:gd name="T10" fmla="*/ 0 w 84"/>
                <a:gd name="T11" fmla="*/ 55 h 99"/>
                <a:gd name="T12" fmla="*/ 0 w 84"/>
                <a:gd name="T13" fmla="*/ 0 h 99"/>
                <a:gd name="T14" fmla="*/ 25 w 84"/>
                <a:gd name="T15" fmla="*/ 0 h 99"/>
                <a:gd name="T16" fmla="*/ 25 w 84"/>
                <a:gd name="T17" fmla="*/ 52 h 99"/>
                <a:gd name="T18" fmla="*/ 29 w 84"/>
                <a:gd name="T19" fmla="*/ 70 h 99"/>
                <a:gd name="T20" fmla="*/ 42 w 84"/>
                <a:gd name="T21" fmla="*/ 75 h 99"/>
                <a:gd name="T22" fmla="*/ 54 w 84"/>
                <a:gd name="T23" fmla="*/ 70 h 99"/>
                <a:gd name="T24" fmla="*/ 58 w 84"/>
                <a:gd name="T25" fmla="*/ 53 h 99"/>
                <a:gd name="T26" fmla="*/ 58 w 84"/>
                <a:gd name="T27" fmla="*/ 0 h 99"/>
                <a:gd name="T28" fmla="*/ 84 w 84"/>
                <a:gd name="T29" fmla="*/ 0 h 99"/>
                <a:gd name="T30" fmla="*/ 84 w 84"/>
                <a:gd name="T31" fmla="*/ 97 h 99"/>
                <a:gd name="T32" fmla="*/ 58 w 84"/>
                <a:gd name="T33" fmla="*/ 97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4" h="99">
                  <a:moveTo>
                    <a:pt x="58" y="97"/>
                  </a:moveTo>
                  <a:cubicBezTo>
                    <a:pt x="58" y="91"/>
                    <a:pt x="58" y="91"/>
                    <a:pt x="58" y="91"/>
                  </a:cubicBezTo>
                  <a:cubicBezTo>
                    <a:pt x="56" y="93"/>
                    <a:pt x="53" y="95"/>
                    <a:pt x="49" y="97"/>
                  </a:cubicBezTo>
                  <a:cubicBezTo>
                    <a:pt x="45" y="98"/>
                    <a:pt x="41" y="99"/>
                    <a:pt x="35" y="99"/>
                  </a:cubicBezTo>
                  <a:cubicBezTo>
                    <a:pt x="24" y="99"/>
                    <a:pt x="15" y="95"/>
                    <a:pt x="9" y="88"/>
                  </a:cubicBezTo>
                  <a:cubicBezTo>
                    <a:pt x="3" y="80"/>
                    <a:pt x="0" y="69"/>
                    <a:pt x="0" y="5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52"/>
                    <a:pt x="25" y="52"/>
                    <a:pt x="25" y="52"/>
                  </a:cubicBezTo>
                  <a:cubicBezTo>
                    <a:pt x="25" y="60"/>
                    <a:pt x="26" y="66"/>
                    <a:pt x="29" y="70"/>
                  </a:cubicBezTo>
                  <a:cubicBezTo>
                    <a:pt x="31" y="73"/>
                    <a:pt x="36" y="75"/>
                    <a:pt x="42" y="75"/>
                  </a:cubicBezTo>
                  <a:cubicBezTo>
                    <a:pt x="48" y="75"/>
                    <a:pt x="52" y="73"/>
                    <a:pt x="54" y="70"/>
                  </a:cubicBezTo>
                  <a:cubicBezTo>
                    <a:pt x="57" y="66"/>
                    <a:pt x="58" y="60"/>
                    <a:pt x="58" y="53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97"/>
                    <a:pt x="84" y="97"/>
                    <a:pt x="84" y="97"/>
                  </a:cubicBezTo>
                  <a:lnTo>
                    <a:pt x="58" y="9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99" name="Freeform 23">
              <a:extLst>
                <a:ext uri="{FF2B5EF4-FFF2-40B4-BE49-F238E27FC236}">
                  <a16:creationId xmlns:a16="http://schemas.microsoft.com/office/drawing/2014/main" id="{BCE97B83-65DD-49DB-AC39-56BB28ACA966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104403" y="1406980"/>
              <a:ext cx="43148" cy="92832"/>
            </a:xfrm>
            <a:custGeom>
              <a:avLst/>
              <a:gdLst>
                <a:gd name="T0" fmla="*/ 62 w 65"/>
                <a:gd name="T1" fmla="*/ 131 h 137"/>
                <a:gd name="T2" fmla="*/ 53 w 65"/>
                <a:gd name="T3" fmla="*/ 135 h 137"/>
                <a:gd name="T4" fmla="*/ 42 w 65"/>
                <a:gd name="T5" fmla="*/ 137 h 137"/>
                <a:gd name="T6" fmla="*/ 31 w 65"/>
                <a:gd name="T7" fmla="*/ 135 h 137"/>
                <a:gd name="T8" fmla="*/ 23 w 65"/>
                <a:gd name="T9" fmla="*/ 129 h 137"/>
                <a:gd name="T10" fmla="*/ 18 w 65"/>
                <a:gd name="T11" fmla="*/ 120 h 137"/>
                <a:gd name="T12" fmla="*/ 16 w 65"/>
                <a:gd name="T13" fmla="*/ 108 h 137"/>
                <a:gd name="T14" fmla="*/ 16 w 65"/>
                <a:gd name="T15" fmla="*/ 62 h 137"/>
                <a:gd name="T16" fmla="*/ 0 w 65"/>
                <a:gd name="T17" fmla="*/ 62 h 137"/>
                <a:gd name="T18" fmla="*/ 0 w 65"/>
                <a:gd name="T19" fmla="*/ 38 h 137"/>
                <a:gd name="T20" fmla="*/ 16 w 65"/>
                <a:gd name="T21" fmla="*/ 38 h 137"/>
                <a:gd name="T22" fmla="*/ 16 w 65"/>
                <a:gd name="T23" fmla="*/ 13 h 137"/>
                <a:gd name="T24" fmla="*/ 42 w 65"/>
                <a:gd name="T25" fmla="*/ 0 h 137"/>
                <a:gd name="T26" fmla="*/ 42 w 65"/>
                <a:gd name="T27" fmla="*/ 38 h 137"/>
                <a:gd name="T28" fmla="*/ 65 w 65"/>
                <a:gd name="T29" fmla="*/ 38 h 137"/>
                <a:gd name="T30" fmla="*/ 65 w 65"/>
                <a:gd name="T31" fmla="*/ 62 h 137"/>
                <a:gd name="T32" fmla="*/ 42 w 65"/>
                <a:gd name="T33" fmla="*/ 62 h 137"/>
                <a:gd name="T34" fmla="*/ 42 w 65"/>
                <a:gd name="T35" fmla="*/ 101 h 137"/>
                <a:gd name="T36" fmla="*/ 42 w 65"/>
                <a:gd name="T37" fmla="*/ 107 h 137"/>
                <a:gd name="T38" fmla="*/ 44 w 65"/>
                <a:gd name="T39" fmla="*/ 110 h 137"/>
                <a:gd name="T40" fmla="*/ 47 w 65"/>
                <a:gd name="T41" fmla="*/ 112 h 137"/>
                <a:gd name="T42" fmla="*/ 51 w 65"/>
                <a:gd name="T43" fmla="*/ 113 h 137"/>
                <a:gd name="T44" fmla="*/ 58 w 65"/>
                <a:gd name="T45" fmla="*/ 111 h 137"/>
                <a:gd name="T46" fmla="*/ 65 w 65"/>
                <a:gd name="T47" fmla="*/ 105 h 137"/>
                <a:gd name="T48" fmla="*/ 62 w 65"/>
                <a:gd name="T49" fmla="*/ 131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5" h="137">
                  <a:moveTo>
                    <a:pt x="62" y="131"/>
                  </a:moveTo>
                  <a:cubicBezTo>
                    <a:pt x="60" y="133"/>
                    <a:pt x="57" y="134"/>
                    <a:pt x="53" y="135"/>
                  </a:cubicBezTo>
                  <a:cubicBezTo>
                    <a:pt x="50" y="137"/>
                    <a:pt x="46" y="137"/>
                    <a:pt x="42" y="137"/>
                  </a:cubicBezTo>
                  <a:cubicBezTo>
                    <a:pt x="38" y="137"/>
                    <a:pt x="34" y="136"/>
                    <a:pt x="31" y="135"/>
                  </a:cubicBezTo>
                  <a:cubicBezTo>
                    <a:pt x="28" y="134"/>
                    <a:pt x="25" y="132"/>
                    <a:pt x="23" y="129"/>
                  </a:cubicBezTo>
                  <a:cubicBezTo>
                    <a:pt x="21" y="126"/>
                    <a:pt x="19" y="123"/>
                    <a:pt x="18" y="120"/>
                  </a:cubicBezTo>
                  <a:cubicBezTo>
                    <a:pt x="17" y="116"/>
                    <a:pt x="16" y="112"/>
                    <a:pt x="16" y="108"/>
                  </a:cubicBezTo>
                  <a:cubicBezTo>
                    <a:pt x="16" y="62"/>
                    <a:pt x="16" y="62"/>
                    <a:pt x="16" y="62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38"/>
                    <a:pt x="42" y="38"/>
                    <a:pt x="42" y="38"/>
                  </a:cubicBezTo>
                  <a:cubicBezTo>
                    <a:pt x="65" y="38"/>
                    <a:pt x="65" y="38"/>
                    <a:pt x="65" y="38"/>
                  </a:cubicBezTo>
                  <a:cubicBezTo>
                    <a:pt x="65" y="62"/>
                    <a:pt x="65" y="62"/>
                    <a:pt x="65" y="62"/>
                  </a:cubicBezTo>
                  <a:cubicBezTo>
                    <a:pt x="42" y="62"/>
                    <a:pt x="42" y="62"/>
                    <a:pt x="42" y="62"/>
                  </a:cubicBezTo>
                  <a:cubicBezTo>
                    <a:pt x="42" y="101"/>
                    <a:pt x="42" y="101"/>
                    <a:pt x="42" y="101"/>
                  </a:cubicBezTo>
                  <a:cubicBezTo>
                    <a:pt x="42" y="103"/>
                    <a:pt x="42" y="105"/>
                    <a:pt x="42" y="107"/>
                  </a:cubicBezTo>
                  <a:cubicBezTo>
                    <a:pt x="43" y="108"/>
                    <a:pt x="43" y="110"/>
                    <a:pt x="44" y="110"/>
                  </a:cubicBezTo>
                  <a:cubicBezTo>
                    <a:pt x="45" y="111"/>
                    <a:pt x="46" y="112"/>
                    <a:pt x="47" y="112"/>
                  </a:cubicBezTo>
                  <a:cubicBezTo>
                    <a:pt x="48" y="113"/>
                    <a:pt x="49" y="113"/>
                    <a:pt x="51" y="113"/>
                  </a:cubicBezTo>
                  <a:cubicBezTo>
                    <a:pt x="53" y="113"/>
                    <a:pt x="55" y="112"/>
                    <a:pt x="58" y="111"/>
                  </a:cubicBezTo>
                  <a:cubicBezTo>
                    <a:pt x="60" y="110"/>
                    <a:pt x="62" y="108"/>
                    <a:pt x="65" y="105"/>
                  </a:cubicBezTo>
                  <a:lnTo>
                    <a:pt x="62" y="13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00" name="Freeform 24">
              <a:extLst>
                <a:ext uri="{FF2B5EF4-FFF2-40B4-BE49-F238E27FC236}">
                  <a16:creationId xmlns:a16="http://schemas.microsoft.com/office/drawing/2014/main" id="{3A70ECD6-5CB1-4ABC-BD20-5CD3C4FFDF5E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160625" y="1430515"/>
              <a:ext cx="56222" cy="69297"/>
            </a:xfrm>
            <a:custGeom>
              <a:avLst/>
              <a:gdLst>
                <a:gd name="T0" fmla="*/ 78 w 81"/>
                <a:gd name="T1" fmla="*/ 9 h 101"/>
                <a:gd name="T2" fmla="*/ 70 w 81"/>
                <a:gd name="T3" fmla="*/ 30 h 101"/>
                <a:gd name="T4" fmla="*/ 55 w 81"/>
                <a:gd name="T5" fmla="*/ 24 h 101"/>
                <a:gd name="T6" fmla="*/ 41 w 81"/>
                <a:gd name="T7" fmla="*/ 22 h 101"/>
                <a:gd name="T8" fmla="*/ 31 w 81"/>
                <a:gd name="T9" fmla="*/ 23 h 101"/>
                <a:gd name="T10" fmla="*/ 28 w 81"/>
                <a:gd name="T11" fmla="*/ 28 h 101"/>
                <a:gd name="T12" fmla="*/ 29 w 81"/>
                <a:gd name="T13" fmla="*/ 31 h 101"/>
                <a:gd name="T14" fmla="*/ 32 w 81"/>
                <a:gd name="T15" fmla="*/ 33 h 101"/>
                <a:gd name="T16" fmla="*/ 38 w 81"/>
                <a:gd name="T17" fmla="*/ 36 h 101"/>
                <a:gd name="T18" fmla="*/ 48 w 81"/>
                <a:gd name="T19" fmla="*/ 39 h 101"/>
                <a:gd name="T20" fmla="*/ 61 w 81"/>
                <a:gd name="T21" fmla="*/ 44 h 101"/>
                <a:gd name="T22" fmla="*/ 71 w 81"/>
                <a:gd name="T23" fmla="*/ 50 h 101"/>
                <a:gd name="T24" fmla="*/ 78 w 81"/>
                <a:gd name="T25" fmla="*/ 59 h 101"/>
                <a:gd name="T26" fmla="*/ 81 w 81"/>
                <a:gd name="T27" fmla="*/ 71 h 101"/>
                <a:gd name="T28" fmla="*/ 78 w 81"/>
                <a:gd name="T29" fmla="*/ 85 h 101"/>
                <a:gd name="T30" fmla="*/ 69 w 81"/>
                <a:gd name="T31" fmla="*/ 94 h 101"/>
                <a:gd name="T32" fmla="*/ 57 w 81"/>
                <a:gd name="T33" fmla="*/ 100 h 101"/>
                <a:gd name="T34" fmla="*/ 41 w 81"/>
                <a:gd name="T35" fmla="*/ 101 h 101"/>
                <a:gd name="T36" fmla="*/ 19 w 81"/>
                <a:gd name="T37" fmla="*/ 98 h 101"/>
                <a:gd name="T38" fmla="*/ 0 w 81"/>
                <a:gd name="T39" fmla="*/ 90 h 101"/>
                <a:gd name="T40" fmla="*/ 9 w 81"/>
                <a:gd name="T41" fmla="*/ 70 h 101"/>
                <a:gd name="T42" fmla="*/ 25 w 81"/>
                <a:gd name="T43" fmla="*/ 77 h 101"/>
                <a:gd name="T44" fmla="*/ 43 w 81"/>
                <a:gd name="T45" fmla="*/ 79 h 101"/>
                <a:gd name="T46" fmla="*/ 53 w 81"/>
                <a:gd name="T47" fmla="*/ 78 h 101"/>
                <a:gd name="T48" fmla="*/ 56 w 81"/>
                <a:gd name="T49" fmla="*/ 72 h 101"/>
                <a:gd name="T50" fmla="*/ 55 w 81"/>
                <a:gd name="T51" fmla="*/ 69 h 101"/>
                <a:gd name="T52" fmla="*/ 53 w 81"/>
                <a:gd name="T53" fmla="*/ 67 h 101"/>
                <a:gd name="T54" fmla="*/ 48 w 81"/>
                <a:gd name="T55" fmla="*/ 64 h 101"/>
                <a:gd name="T56" fmla="*/ 41 w 81"/>
                <a:gd name="T57" fmla="*/ 62 h 101"/>
                <a:gd name="T58" fmla="*/ 26 w 81"/>
                <a:gd name="T59" fmla="*/ 57 h 101"/>
                <a:gd name="T60" fmla="*/ 13 w 81"/>
                <a:gd name="T61" fmla="*/ 51 h 101"/>
                <a:gd name="T62" fmla="*/ 6 w 81"/>
                <a:gd name="T63" fmla="*/ 42 h 101"/>
                <a:gd name="T64" fmla="*/ 3 w 81"/>
                <a:gd name="T65" fmla="*/ 29 h 101"/>
                <a:gd name="T66" fmla="*/ 6 w 81"/>
                <a:gd name="T67" fmla="*/ 16 h 101"/>
                <a:gd name="T68" fmla="*/ 14 w 81"/>
                <a:gd name="T69" fmla="*/ 7 h 101"/>
                <a:gd name="T70" fmla="*/ 26 w 81"/>
                <a:gd name="T71" fmla="*/ 2 h 101"/>
                <a:gd name="T72" fmla="*/ 42 w 81"/>
                <a:gd name="T73" fmla="*/ 0 h 101"/>
                <a:gd name="T74" fmla="*/ 61 w 81"/>
                <a:gd name="T75" fmla="*/ 3 h 101"/>
                <a:gd name="T76" fmla="*/ 78 w 81"/>
                <a:gd name="T77" fmla="*/ 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81" h="101">
                  <a:moveTo>
                    <a:pt x="78" y="9"/>
                  </a:moveTo>
                  <a:cubicBezTo>
                    <a:pt x="70" y="30"/>
                    <a:pt x="70" y="30"/>
                    <a:pt x="70" y="30"/>
                  </a:cubicBezTo>
                  <a:cubicBezTo>
                    <a:pt x="65" y="27"/>
                    <a:pt x="60" y="25"/>
                    <a:pt x="55" y="24"/>
                  </a:cubicBezTo>
                  <a:cubicBezTo>
                    <a:pt x="50" y="22"/>
                    <a:pt x="45" y="22"/>
                    <a:pt x="41" y="22"/>
                  </a:cubicBezTo>
                  <a:cubicBezTo>
                    <a:pt x="37" y="22"/>
                    <a:pt x="34" y="22"/>
                    <a:pt x="31" y="23"/>
                  </a:cubicBezTo>
                  <a:cubicBezTo>
                    <a:pt x="29" y="24"/>
                    <a:pt x="28" y="26"/>
                    <a:pt x="28" y="28"/>
                  </a:cubicBezTo>
                  <a:cubicBezTo>
                    <a:pt x="28" y="29"/>
                    <a:pt x="29" y="30"/>
                    <a:pt x="29" y="31"/>
                  </a:cubicBezTo>
                  <a:cubicBezTo>
                    <a:pt x="29" y="32"/>
                    <a:pt x="30" y="32"/>
                    <a:pt x="32" y="33"/>
                  </a:cubicBezTo>
                  <a:cubicBezTo>
                    <a:pt x="33" y="34"/>
                    <a:pt x="35" y="35"/>
                    <a:pt x="38" y="36"/>
                  </a:cubicBezTo>
                  <a:cubicBezTo>
                    <a:pt x="41" y="37"/>
                    <a:pt x="44" y="38"/>
                    <a:pt x="48" y="39"/>
                  </a:cubicBezTo>
                  <a:cubicBezTo>
                    <a:pt x="53" y="41"/>
                    <a:pt x="57" y="42"/>
                    <a:pt x="61" y="44"/>
                  </a:cubicBezTo>
                  <a:cubicBezTo>
                    <a:pt x="65" y="46"/>
                    <a:pt x="68" y="48"/>
                    <a:pt x="71" y="50"/>
                  </a:cubicBezTo>
                  <a:cubicBezTo>
                    <a:pt x="74" y="52"/>
                    <a:pt x="76" y="55"/>
                    <a:pt x="78" y="59"/>
                  </a:cubicBezTo>
                  <a:cubicBezTo>
                    <a:pt x="80" y="62"/>
                    <a:pt x="81" y="66"/>
                    <a:pt x="81" y="71"/>
                  </a:cubicBezTo>
                  <a:cubicBezTo>
                    <a:pt x="81" y="76"/>
                    <a:pt x="80" y="81"/>
                    <a:pt x="78" y="85"/>
                  </a:cubicBezTo>
                  <a:cubicBezTo>
                    <a:pt x="76" y="89"/>
                    <a:pt x="73" y="92"/>
                    <a:pt x="69" y="94"/>
                  </a:cubicBezTo>
                  <a:cubicBezTo>
                    <a:pt x="66" y="97"/>
                    <a:pt x="61" y="98"/>
                    <a:pt x="57" y="100"/>
                  </a:cubicBezTo>
                  <a:cubicBezTo>
                    <a:pt x="52" y="101"/>
                    <a:pt x="47" y="101"/>
                    <a:pt x="41" y="101"/>
                  </a:cubicBezTo>
                  <a:cubicBezTo>
                    <a:pt x="34" y="101"/>
                    <a:pt x="26" y="100"/>
                    <a:pt x="19" y="98"/>
                  </a:cubicBezTo>
                  <a:cubicBezTo>
                    <a:pt x="12" y="96"/>
                    <a:pt x="6" y="93"/>
                    <a:pt x="0" y="90"/>
                  </a:cubicBezTo>
                  <a:cubicBezTo>
                    <a:pt x="9" y="70"/>
                    <a:pt x="9" y="70"/>
                    <a:pt x="9" y="70"/>
                  </a:cubicBezTo>
                  <a:cubicBezTo>
                    <a:pt x="14" y="73"/>
                    <a:pt x="20" y="76"/>
                    <a:pt x="25" y="77"/>
                  </a:cubicBezTo>
                  <a:cubicBezTo>
                    <a:pt x="31" y="79"/>
                    <a:pt x="36" y="79"/>
                    <a:pt x="43" y="79"/>
                  </a:cubicBezTo>
                  <a:cubicBezTo>
                    <a:pt x="47" y="79"/>
                    <a:pt x="51" y="79"/>
                    <a:pt x="53" y="78"/>
                  </a:cubicBezTo>
                  <a:cubicBezTo>
                    <a:pt x="55" y="76"/>
                    <a:pt x="56" y="75"/>
                    <a:pt x="56" y="72"/>
                  </a:cubicBezTo>
                  <a:cubicBezTo>
                    <a:pt x="56" y="71"/>
                    <a:pt x="55" y="70"/>
                    <a:pt x="55" y="69"/>
                  </a:cubicBezTo>
                  <a:cubicBezTo>
                    <a:pt x="54" y="68"/>
                    <a:pt x="54" y="67"/>
                    <a:pt x="53" y="67"/>
                  </a:cubicBezTo>
                  <a:cubicBezTo>
                    <a:pt x="51" y="66"/>
                    <a:pt x="50" y="65"/>
                    <a:pt x="48" y="64"/>
                  </a:cubicBezTo>
                  <a:cubicBezTo>
                    <a:pt x="46" y="64"/>
                    <a:pt x="44" y="63"/>
                    <a:pt x="41" y="62"/>
                  </a:cubicBezTo>
                  <a:cubicBezTo>
                    <a:pt x="36" y="60"/>
                    <a:pt x="30" y="59"/>
                    <a:pt x="26" y="57"/>
                  </a:cubicBezTo>
                  <a:cubicBezTo>
                    <a:pt x="21" y="55"/>
                    <a:pt x="17" y="53"/>
                    <a:pt x="13" y="51"/>
                  </a:cubicBezTo>
                  <a:cubicBezTo>
                    <a:pt x="10" y="48"/>
                    <a:pt x="8" y="45"/>
                    <a:pt x="6" y="42"/>
                  </a:cubicBezTo>
                  <a:cubicBezTo>
                    <a:pt x="4" y="38"/>
                    <a:pt x="3" y="34"/>
                    <a:pt x="3" y="29"/>
                  </a:cubicBezTo>
                  <a:cubicBezTo>
                    <a:pt x="3" y="24"/>
                    <a:pt x="4" y="19"/>
                    <a:pt x="6" y="16"/>
                  </a:cubicBezTo>
                  <a:cubicBezTo>
                    <a:pt x="8" y="12"/>
                    <a:pt x="10" y="9"/>
                    <a:pt x="14" y="7"/>
                  </a:cubicBezTo>
                  <a:cubicBezTo>
                    <a:pt x="17" y="4"/>
                    <a:pt x="21" y="3"/>
                    <a:pt x="26" y="2"/>
                  </a:cubicBezTo>
                  <a:cubicBezTo>
                    <a:pt x="31" y="0"/>
                    <a:pt x="36" y="0"/>
                    <a:pt x="42" y="0"/>
                  </a:cubicBezTo>
                  <a:cubicBezTo>
                    <a:pt x="48" y="0"/>
                    <a:pt x="54" y="1"/>
                    <a:pt x="61" y="3"/>
                  </a:cubicBezTo>
                  <a:cubicBezTo>
                    <a:pt x="67" y="4"/>
                    <a:pt x="73" y="7"/>
                    <a:pt x="78" y="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01" name="Freeform 25">
              <a:extLst>
                <a:ext uri="{FF2B5EF4-FFF2-40B4-BE49-F238E27FC236}">
                  <a16:creationId xmlns:a16="http://schemas.microsoft.com/office/drawing/2014/main" id="{5A85C156-A249-4B2C-8A44-A8D8A3A0EEFE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226000" y="1430515"/>
              <a:ext cx="58837" cy="69297"/>
            </a:xfrm>
            <a:custGeom>
              <a:avLst/>
              <a:gdLst>
                <a:gd name="T0" fmla="*/ 85 w 85"/>
                <a:gd name="T1" fmla="*/ 80 h 101"/>
                <a:gd name="T2" fmla="*/ 77 w 85"/>
                <a:gd name="T3" fmla="*/ 88 h 101"/>
                <a:gd name="T4" fmla="*/ 69 w 85"/>
                <a:gd name="T5" fmla="*/ 95 h 101"/>
                <a:gd name="T6" fmla="*/ 58 w 85"/>
                <a:gd name="T7" fmla="*/ 100 h 101"/>
                <a:gd name="T8" fmla="*/ 45 w 85"/>
                <a:gd name="T9" fmla="*/ 101 h 101"/>
                <a:gd name="T10" fmla="*/ 27 w 85"/>
                <a:gd name="T11" fmla="*/ 98 h 101"/>
                <a:gd name="T12" fmla="*/ 13 w 85"/>
                <a:gd name="T13" fmla="*/ 87 h 101"/>
                <a:gd name="T14" fmla="*/ 3 w 85"/>
                <a:gd name="T15" fmla="*/ 71 h 101"/>
                <a:gd name="T16" fmla="*/ 0 w 85"/>
                <a:gd name="T17" fmla="*/ 51 h 101"/>
                <a:gd name="T18" fmla="*/ 3 w 85"/>
                <a:gd name="T19" fmla="*/ 30 h 101"/>
                <a:gd name="T20" fmla="*/ 13 w 85"/>
                <a:gd name="T21" fmla="*/ 14 h 101"/>
                <a:gd name="T22" fmla="*/ 28 w 85"/>
                <a:gd name="T23" fmla="*/ 4 h 101"/>
                <a:gd name="T24" fmla="*/ 46 w 85"/>
                <a:gd name="T25" fmla="*/ 0 h 101"/>
                <a:gd name="T26" fmla="*/ 68 w 85"/>
                <a:gd name="T27" fmla="*/ 5 h 101"/>
                <a:gd name="T28" fmla="*/ 85 w 85"/>
                <a:gd name="T29" fmla="*/ 21 h 101"/>
                <a:gd name="T30" fmla="*/ 68 w 85"/>
                <a:gd name="T31" fmla="*/ 38 h 101"/>
                <a:gd name="T32" fmla="*/ 63 w 85"/>
                <a:gd name="T33" fmla="*/ 33 h 101"/>
                <a:gd name="T34" fmla="*/ 58 w 85"/>
                <a:gd name="T35" fmla="*/ 28 h 101"/>
                <a:gd name="T36" fmla="*/ 53 w 85"/>
                <a:gd name="T37" fmla="*/ 26 h 101"/>
                <a:gd name="T38" fmla="*/ 46 w 85"/>
                <a:gd name="T39" fmla="*/ 25 h 101"/>
                <a:gd name="T40" fmla="*/ 37 w 85"/>
                <a:gd name="T41" fmla="*/ 26 h 101"/>
                <a:gd name="T42" fmla="*/ 31 w 85"/>
                <a:gd name="T43" fmla="*/ 32 h 101"/>
                <a:gd name="T44" fmla="*/ 27 w 85"/>
                <a:gd name="T45" fmla="*/ 40 h 101"/>
                <a:gd name="T46" fmla="*/ 26 w 85"/>
                <a:gd name="T47" fmla="*/ 51 h 101"/>
                <a:gd name="T48" fmla="*/ 27 w 85"/>
                <a:gd name="T49" fmla="*/ 61 h 101"/>
                <a:gd name="T50" fmla="*/ 31 w 85"/>
                <a:gd name="T51" fmla="*/ 69 h 101"/>
                <a:gd name="T52" fmla="*/ 37 w 85"/>
                <a:gd name="T53" fmla="*/ 75 h 101"/>
                <a:gd name="T54" fmla="*/ 46 w 85"/>
                <a:gd name="T55" fmla="*/ 77 h 101"/>
                <a:gd name="T56" fmla="*/ 52 w 85"/>
                <a:gd name="T57" fmla="*/ 76 h 101"/>
                <a:gd name="T58" fmla="*/ 58 w 85"/>
                <a:gd name="T59" fmla="*/ 73 h 101"/>
                <a:gd name="T60" fmla="*/ 64 w 85"/>
                <a:gd name="T61" fmla="*/ 69 h 101"/>
                <a:gd name="T62" fmla="*/ 69 w 85"/>
                <a:gd name="T63" fmla="*/ 64 h 101"/>
                <a:gd name="T64" fmla="*/ 85 w 85"/>
                <a:gd name="T65" fmla="*/ 8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5" h="101">
                  <a:moveTo>
                    <a:pt x="85" y="80"/>
                  </a:moveTo>
                  <a:cubicBezTo>
                    <a:pt x="83" y="83"/>
                    <a:pt x="80" y="86"/>
                    <a:pt x="77" y="88"/>
                  </a:cubicBezTo>
                  <a:cubicBezTo>
                    <a:pt x="75" y="91"/>
                    <a:pt x="72" y="93"/>
                    <a:pt x="69" y="95"/>
                  </a:cubicBezTo>
                  <a:cubicBezTo>
                    <a:pt x="65" y="97"/>
                    <a:pt x="62" y="98"/>
                    <a:pt x="58" y="100"/>
                  </a:cubicBezTo>
                  <a:cubicBezTo>
                    <a:pt x="54" y="101"/>
                    <a:pt x="50" y="101"/>
                    <a:pt x="45" y="101"/>
                  </a:cubicBezTo>
                  <a:cubicBezTo>
                    <a:pt x="39" y="101"/>
                    <a:pt x="33" y="100"/>
                    <a:pt x="27" y="98"/>
                  </a:cubicBezTo>
                  <a:cubicBezTo>
                    <a:pt x="22" y="95"/>
                    <a:pt x="17" y="92"/>
                    <a:pt x="13" y="87"/>
                  </a:cubicBezTo>
                  <a:cubicBezTo>
                    <a:pt x="9" y="83"/>
                    <a:pt x="5" y="77"/>
                    <a:pt x="3" y="71"/>
                  </a:cubicBezTo>
                  <a:cubicBezTo>
                    <a:pt x="1" y="65"/>
                    <a:pt x="0" y="58"/>
                    <a:pt x="0" y="51"/>
                  </a:cubicBezTo>
                  <a:cubicBezTo>
                    <a:pt x="0" y="43"/>
                    <a:pt x="1" y="36"/>
                    <a:pt x="3" y="30"/>
                  </a:cubicBezTo>
                  <a:cubicBezTo>
                    <a:pt x="5" y="24"/>
                    <a:pt x="9" y="19"/>
                    <a:pt x="13" y="14"/>
                  </a:cubicBezTo>
                  <a:cubicBezTo>
                    <a:pt x="17" y="10"/>
                    <a:pt x="22" y="6"/>
                    <a:pt x="28" y="4"/>
                  </a:cubicBezTo>
                  <a:cubicBezTo>
                    <a:pt x="33" y="1"/>
                    <a:pt x="39" y="0"/>
                    <a:pt x="46" y="0"/>
                  </a:cubicBezTo>
                  <a:cubicBezTo>
                    <a:pt x="54" y="0"/>
                    <a:pt x="62" y="2"/>
                    <a:pt x="68" y="5"/>
                  </a:cubicBezTo>
                  <a:cubicBezTo>
                    <a:pt x="74" y="9"/>
                    <a:pt x="80" y="14"/>
                    <a:pt x="85" y="21"/>
                  </a:cubicBezTo>
                  <a:cubicBezTo>
                    <a:pt x="68" y="38"/>
                    <a:pt x="68" y="38"/>
                    <a:pt x="68" y="38"/>
                  </a:cubicBezTo>
                  <a:cubicBezTo>
                    <a:pt x="66" y="36"/>
                    <a:pt x="65" y="35"/>
                    <a:pt x="63" y="33"/>
                  </a:cubicBezTo>
                  <a:cubicBezTo>
                    <a:pt x="62" y="31"/>
                    <a:pt x="60" y="30"/>
                    <a:pt x="58" y="28"/>
                  </a:cubicBezTo>
                  <a:cubicBezTo>
                    <a:pt x="57" y="27"/>
                    <a:pt x="55" y="26"/>
                    <a:pt x="53" y="26"/>
                  </a:cubicBezTo>
                  <a:cubicBezTo>
                    <a:pt x="51" y="25"/>
                    <a:pt x="48" y="25"/>
                    <a:pt x="46" y="25"/>
                  </a:cubicBezTo>
                  <a:cubicBezTo>
                    <a:pt x="43" y="25"/>
                    <a:pt x="40" y="25"/>
                    <a:pt x="37" y="26"/>
                  </a:cubicBezTo>
                  <a:cubicBezTo>
                    <a:pt x="35" y="28"/>
                    <a:pt x="33" y="29"/>
                    <a:pt x="31" y="32"/>
                  </a:cubicBezTo>
                  <a:cubicBezTo>
                    <a:pt x="29" y="34"/>
                    <a:pt x="28" y="37"/>
                    <a:pt x="27" y="40"/>
                  </a:cubicBezTo>
                  <a:cubicBezTo>
                    <a:pt x="26" y="43"/>
                    <a:pt x="26" y="47"/>
                    <a:pt x="26" y="51"/>
                  </a:cubicBezTo>
                  <a:cubicBezTo>
                    <a:pt x="26" y="55"/>
                    <a:pt x="26" y="58"/>
                    <a:pt x="27" y="61"/>
                  </a:cubicBezTo>
                  <a:cubicBezTo>
                    <a:pt x="28" y="64"/>
                    <a:pt x="29" y="67"/>
                    <a:pt x="31" y="69"/>
                  </a:cubicBezTo>
                  <a:cubicBezTo>
                    <a:pt x="33" y="72"/>
                    <a:pt x="35" y="73"/>
                    <a:pt x="37" y="75"/>
                  </a:cubicBezTo>
                  <a:cubicBezTo>
                    <a:pt x="40" y="76"/>
                    <a:pt x="43" y="77"/>
                    <a:pt x="46" y="77"/>
                  </a:cubicBezTo>
                  <a:cubicBezTo>
                    <a:pt x="48" y="77"/>
                    <a:pt x="50" y="76"/>
                    <a:pt x="52" y="76"/>
                  </a:cubicBezTo>
                  <a:cubicBezTo>
                    <a:pt x="55" y="75"/>
                    <a:pt x="57" y="74"/>
                    <a:pt x="58" y="73"/>
                  </a:cubicBezTo>
                  <a:cubicBezTo>
                    <a:pt x="60" y="72"/>
                    <a:pt x="62" y="71"/>
                    <a:pt x="64" y="69"/>
                  </a:cubicBezTo>
                  <a:cubicBezTo>
                    <a:pt x="65" y="68"/>
                    <a:pt x="67" y="66"/>
                    <a:pt x="69" y="64"/>
                  </a:cubicBezTo>
                  <a:lnTo>
                    <a:pt x="85" y="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02" name="Freeform 26">
              <a:extLst>
                <a:ext uri="{FF2B5EF4-FFF2-40B4-BE49-F238E27FC236}">
                  <a16:creationId xmlns:a16="http://schemas.microsoft.com/office/drawing/2014/main" id="{91225174-20DB-4A4F-A5BB-9A114EDC0F3E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297911" y="1406980"/>
              <a:ext cx="57529" cy="91524"/>
            </a:xfrm>
            <a:custGeom>
              <a:avLst/>
              <a:gdLst>
                <a:gd name="T0" fmla="*/ 59 w 84"/>
                <a:gd name="T1" fmla="*/ 135 h 135"/>
                <a:gd name="T2" fmla="*/ 59 w 84"/>
                <a:gd name="T3" fmla="*/ 83 h 135"/>
                <a:gd name="T4" fmla="*/ 55 w 84"/>
                <a:gd name="T5" fmla="*/ 66 h 135"/>
                <a:gd name="T6" fmla="*/ 42 w 84"/>
                <a:gd name="T7" fmla="*/ 60 h 135"/>
                <a:gd name="T8" fmla="*/ 35 w 84"/>
                <a:gd name="T9" fmla="*/ 61 h 135"/>
                <a:gd name="T10" fmla="*/ 30 w 84"/>
                <a:gd name="T11" fmla="*/ 65 h 135"/>
                <a:gd name="T12" fmla="*/ 27 w 84"/>
                <a:gd name="T13" fmla="*/ 71 h 135"/>
                <a:gd name="T14" fmla="*/ 25 w 84"/>
                <a:gd name="T15" fmla="*/ 82 h 135"/>
                <a:gd name="T16" fmla="*/ 25 w 84"/>
                <a:gd name="T17" fmla="*/ 135 h 135"/>
                <a:gd name="T18" fmla="*/ 0 w 84"/>
                <a:gd name="T19" fmla="*/ 135 h 135"/>
                <a:gd name="T20" fmla="*/ 0 w 84"/>
                <a:gd name="T21" fmla="*/ 13 h 135"/>
                <a:gd name="T22" fmla="*/ 25 w 84"/>
                <a:gd name="T23" fmla="*/ 0 h 135"/>
                <a:gd name="T24" fmla="*/ 25 w 84"/>
                <a:gd name="T25" fmla="*/ 44 h 135"/>
                <a:gd name="T26" fmla="*/ 29 w 84"/>
                <a:gd name="T27" fmla="*/ 41 h 135"/>
                <a:gd name="T28" fmla="*/ 35 w 84"/>
                <a:gd name="T29" fmla="*/ 38 h 135"/>
                <a:gd name="T30" fmla="*/ 41 w 84"/>
                <a:gd name="T31" fmla="*/ 37 h 135"/>
                <a:gd name="T32" fmla="*/ 48 w 84"/>
                <a:gd name="T33" fmla="*/ 36 h 135"/>
                <a:gd name="T34" fmla="*/ 64 w 84"/>
                <a:gd name="T35" fmla="*/ 39 h 135"/>
                <a:gd name="T36" fmla="*/ 75 w 84"/>
                <a:gd name="T37" fmla="*/ 48 h 135"/>
                <a:gd name="T38" fmla="*/ 82 w 84"/>
                <a:gd name="T39" fmla="*/ 62 h 135"/>
                <a:gd name="T40" fmla="*/ 84 w 84"/>
                <a:gd name="T41" fmla="*/ 80 h 135"/>
                <a:gd name="T42" fmla="*/ 84 w 84"/>
                <a:gd name="T43" fmla="*/ 135 h 135"/>
                <a:gd name="T44" fmla="*/ 59 w 84"/>
                <a:gd name="T45" fmla="*/ 135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4" h="135">
                  <a:moveTo>
                    <a:pt x="59" y="135"/>
                  </a:moveTo>
                  <a:cubicBezTo>
                    <a:pt x="59" y="83"/>
                    <a:pt x="59" y="83"/>
                    <a:pt x="59" y="83"/>
                  </a:cubicBezTo>
                  <a:cubicBezTo>
                    <a:pt x="59" y="75"/>
                    <a:pt x="57" y="69"/>
                    <a:pt x="55" y="66"/>
                  </a:cubicBezTo>
                  <a:cubicBezTo>
                    <a:pt x="52" y="62"/>
                    <a:pt x="48" y="60"/>
                    <a:pt x="42" y="60"/>
                  </a:cubicBezTo>
                  <a:cubicBezTo>
                    <a:pt x="39" y="60"/>
                    <a:pt x="37" y="60"/>
                    <a:pt x="35" y="61"/>
                  </a:cubicBezTo>
                  <a:cubicBezTo>
                    <a:pt x="33" y="62"/>
                    <a:pt x="31" y="63"/>
                    <a:pt x="30" y="65"/>
                  </a:cubicBezTo>
                  <a:cubicBezTo>
                    <a:pt x="28" y="66"/>
                    <a:pt x="27" y="69"/>
                    <a:pt x="27" y="71"/>
                  </a:cubicBezTo>
                  <a:cubicBezTo>
                    <a:pt x="26" y="74"/>
                    <a:pt x="25" y="78"/>
                    <a:pt x="25" y="82"/>
                  </a:cubicBezTo>
                  <a:cubicBezTo>
                    <a:pt x="25" y="135"/>
                    <a:pt x="25" y="135"/>
                    <a:pt x="25" y="135"/>
                  </a:cubicBezTo>
                  <a:cubicBezTo>
                    <a:pt x="0" y="135"/>
                    <a:pt x="0" y="135"/>
                    <a:pt x="0" y="135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44"/>
                    <a:pt x="25" y="44"/>
                    <a:pt x="25" y="44"/>
                  </a:cubicBezTo>
                  <a:cubicBezTo>
                    <a:pt x="27" y="43"/>
                    <a:pt x="28" y="42"/>
                    <a:pt x="29" y="41"/>
                  </a:cubicBezTo>
                  <a:cubicBezTo>
                    <a:pt x="31" y="40"/>
                    <a:pt x="33" y="39"/>
                    <a:pt x="35" y="38"/>
                  </a:cubicBezTo>
                  <a:cubicBezTo>
                    <a:pt x="37" y="38"/>
                    <a:pt x="39" y="37"/>
                    <a:pt x="41" y="37"/>
                  </a:cubicBezTo>
                  <a:cubicBezTo>
                    <a:pt x="43" y="36"/>
                    <a:pt x="46" y="36"/>
                    <a:pt x="48" y="36"/>
                  </a:cubicBezTo>
                  <a:cubicBezTo>
                    <a:pt x="54" y="36"/>
                    <a:pt x="60" y="37"/>
                    <a:pt x="64" y="39"/>
                  </a:cubicBezTo>
                  <a:cubicBezTo>
                    <a:pt x="69" y="41"/>
                    <a:pt x="73" y="44"/>
                    <a:pt x="75" y="48"/>
                  </a:cubicBezTo>
                  <a:cubicBezTo>
                    <a:pt x="78" y="52"/>
                    <a:pt x="81" y="56"/>
                    <a:pt x="82" y="62"/>
                  </a:cubicBezTo>
                  <a:cubicBezTo>
                    <a:pt x="83" y="67"/>
                    <a:pt x="84" y="74"/>
                    <a:pt x="84" y="80"/>
                  </a:cubicBezTo>
                  <a:cubicBezTo>
                    <a:pt x="84" y="135"/>
                    <a:pt x="84" y="135"/>
                    <a:pt x="84" y="135"/>
                  </a:cubicBezTo>
                  <a:lnTo>
                    <a:pt x="59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03" name="Freeform 27">
              <a:extLst>
                <a:ext uri="{FF2B5EF4-FFF2-40B4-BE49-F238E27FC236}">
                  <a16:creationId xmlns:a16="http://schemas.microsoft.com/office/drawing/2014/main" id="{43682DD6-D2ED-4863-B27B-40F3CBE0E381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372438" y="1406980"/>
              <a:ext cx="16998" cy="91524"/>
            </a:xfrm>
            <a:custGeom>
              <a:avLst/>
              <a:gdLst>
                <a:gd name="T0" fmla="*/ 0 w 13"/>
                <a:gd name="T1" fmla="*/ 70 h 70"/>
                <a:gd name="T2" fmla="*/ 0 w 13"/>
                <a:gd name="T3" fmla="*/ 6 h 70"/>
                <a:gd name="T4" fmla="*/ 13 w 13"/>
                <a:gd name="T5" fmla="*/ 0 h 70"/>
                <a:gd name="T6" fmla="*/ 13 w 13"/>
                <a:gd name="T7" fmla="*/ 70 h 70"/>
                <a:gd name="T8" fmla="*/ 0 w 13"/>
                <a:gd name="T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70">
                  <a:moveTo>
                    <a:pt x="0" y="70"/>
                  </a:moveTo>
                  <a:lnTo>
                    <a:pt x="0" y="6"/>
                  </a:lnTo>
                  <a:lnTo>
                    <a:pt x="13" y="0"/>
                  </a:lnTo>
                  <a:lnTo>
                    <a:pt x="13" y="70"/>
                  </a:lnTo>
                  <a:lnTo>
                    <a:pt x="0" y="7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04" name="Freeform 28">
              <a:extLst>
                <a:ext uri="{FF2B5EF4-FFF2-40B4-BE49-F238E27FC236}">
                  <a16:creationId xmlns:a16="http://schemas.microsoft.com/office/drawing/2014/main" id="{3D572001-B851-4D74-9AAD-13EE61D916F6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10403818" y="1430515"/>
              <a:ext cx="57529" cy="69297"/>
            </a:xfrm>
            <a:custGeom>
              <a:avLst/>
              <a:gdLst>
                <a:gd name="T0" fmla="*/ 58 w 83"/>
                <a:gd name="T1" fmla="*/ 99 h 101"/>
                <a:gd name="T2" fmla="*/ 58 w 83"/>
                <a:gd name="T3" fmla="*/ 93 h 101"/>
                <a:gd name="T4" fmla="*/ 54 w 83"/>
                <a:gd name="T5" fmla="*/ 96 h 101"/>
                <a:gd name="T6" fmla="*/ 49 w 83"/>
                <a:gd name="T7" fmla="*/ 99 h 101"/>
                <a:gd name="T8" fmla="*/ 42 w 83"/>
                <a:gd name="T9" fmla="*/ 101 h 101"/>
                <a:gd name="T10" fmla="*/ 36 w 83"/>
                <a:gd name="T11" fmla="*/ 101 h 101"/>
                <a:gd name="T12" fmla="*/ 23 w 83"/>
                <a:gd name="T13" fmla="*/ 99 h 101"/>
                <a:gd name="T14" fmla="*/ 11 w 83"/>
                <a:gd name="T15" fmla="*/ 93 h 101"/>
                <a:gd name="T16" fmla="*/ 3 w 83"/>
                <a:gd name="T17" fmla="*/ 82 h 101"/>
                <a:gd name="T18" fmla="*/ 0 w 83"/>
                <a:gd name="T19" fmla="*/ 67 h 101"/>
                <a:gd name="T20" fmla="*/ 3 w 83"/>
                <a:gd name="T21" fmla="*/ 53 h 101"/>
                <a:gd name="T22" fmla="*/ 11 w 83"/>
                <a:gd name="T23" fmla="*/ 42 h 101"/>
                <a:gd name="T24" fmla="*/ 24 w 83"/>
                <a:gd name="T25" fmla="*/ 36 h 101"/>
                <a:gd name="T26" fmla="*/ 39 w 83"/>
                <a:gd name="T27" fmla="*/ 34 h 101"/>
                <a:gd name="T28" fmla="*/ 50 w 83"/>
                <a:gd name="T29" fmla="*/ 36 h 101"/>
                <a:gd name="T30" fmla="*/ 58 w 83"/>
                <a:gd name="T31" fmla="*/ 38 h 101"/>
                <a:gd name="T32" fmla="*/ 58 w 83"/>
                <a:gd name="T33" fmla="*/ 33 h 101"/>
                <a:gd name="T34" fmla="*/ 54 w 83"/>
                <a:gd name="T35" fmla="*/ 25 h 101"/>
                <a:gd name="T36" fmla="*/ 44 w 83"/>
                <a:gd name="T37" fmla="*/ 21 h 101"/>
                <a:gd name="T38" fmla="*/ 30 w 83"/>
                <a:gd name="T39" fmla="*/ 22 h 101"/>
                <a:gd name="T40" fmla="*/ 17 w 83"/>
                <a:gd name="T41" fmla="*/ 27 h 101"/>
                <a:gd name="T42" fmla="*/ 7 w 83"/>
                <a:gd name="T43" fmla="*/ 10 h 101"/>
                <a:gd name="T44" fmla="*/ 25 w 83"/>
                <a:gd name="T45" fmla="*/ 2 h 101"/>
                <a:gd name="T46" fmla="*/ 44 w 83"/>
                <a:gd name="T47" fmla="*/ 0 h 101"/>
                <a:gd name="T48" fmla="*/ 60 w 83"/>
                <a:gd name="T49" fmla="*/ 2 h 101"/>
                <a:gd name="T50" fmla="*/ 72 w 83"/>
                <a:gd name="T51" fmla="*/ 9 h 101"/>
                <a:gd name="T52" fmla="*/ 80 w 83"/>
                <a:gd name="T53" fmla="*/ 19 h 101"/>
                <a:gd name="T54" fmla="*/ 83 w 83"/>
                <a:gd name="T55" fmla="*/ 34 h 101"/>
                <a:gd name="T56" fmla="*/ 83 w 83"/>
                <a:gd name="T57" fmla="*/ 99 h 101"/>
                <a:gd name="T58" fmla="*/ 58 w 83"/>
                <a:gd name="T59" fmla="*/ 99 h 101"/>
                <a:gd name="T60" fmla="*/ 58 w 83"/>
                <a:gd name="T61" fmla="*/ 58 h 101"/>
                <a:gd name="T62" fmla="*/ 54 w 83"/>
                <a:gd name="T63" fmla="*/ 57 h 101"/>
                <a:gd name="T64" fmla="*/ 51 w 83"/>
                <a:gd name="T65" fmla="*/ 55 h 101"/>
                <a:gd name="T66" fmla="*/ 46 w 83"/>
                <a:gd name="T67" fmla="*/ 55 h 101"/>
                <a:gd name="T68" fmla="*/ 40 w 83"/>
                <a:gd name="T69" fmla="*/ 54 h 101"/>
                <a:gd name="T70" fmla="*/ 29 w 83"/>
                <a:gd name="T71" fmla="*/ 58 h 101"/>
                <a:gd name="T72" fmla="*/ 25 w 83"/>
                <a:gd name="T73" fmla="*/ 67 h 101"/>
                <a:gd name="T74" fmla="*/ 26 w 83"/>
                <a:gd name="T75" fmla="*/ 71 h 101"/>
                <a:gd name="T76" fmla="*/ 28 w 83"/>
                <a:gd name="T77" fmla="*/ 76 h 101"/>
                <a:gd name="T78" fmla="*/ 33 w 83"/>
                <a:gd name="T79" fmla="*/ 78 h 101"/>
                <a:gd name="T80" fmla="*/ 40 w 83"/>
                <a:gd name="T81" fmla="*/ 80 h 101"/>
                <a:gd name="T82" fmla="*/ 46 w 83"/>
                <a:gd name="T83" fmla="*/ 79 h 101"/>
                <a:gd name="T84" fmla="*/ 51 w 83"/>
                <a:gd name="T85" fmla="*/ 77 h 101"/>
                <a:gd name="T86" fmla="*/ 55 w 83"/>
                <a:gd name="T87" fmla="*/ 74 h 101"/>
                <a:gd name="T88" fmla="*/ 58 w 83"/>
                <a:gd name="T89" fmla="*/ 71 h 101"/>
                <a:gd name="T90" fmla="*/ 58 w 83"/>
                <a:gd name="T91" fmla="*/ 5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83" h="101">
                  <a:moveTo>
                    <a:pt x="58" y="99"/>
                  </a:moveTo>
                  <a:cubicBezTo>
                    <a:pt x="58" y="93"/>
                    <a:pt x="58" y="93"/>
                    <a:pt x="58" y="93"/>
                  </a:cubicBezTo>
                  <a:cubicBezTo>
                    <a:pt x="57" y="94"/>
                    <a:pt x="55" y="95"/>
                    <a:pt x="54" y="96"/>
                  </a:cubicBezTo>
                  <a:cubicBezTo>
                    <a:pt x="52" y="97"/>
                    <a:pt x="51" y="98"/>
                    <a:pt x="49" y="99"/>
                  </a:cubicBezTo>
                  <a:cubicBezTo>
                    <a:pt x="47" y="100"/>
                    <a:pt x="44" y="100"/>
                    <a:pt x="42" y="101"/>
                  </a:cubicBezTo>
                  <a:cubicBezTo>
                    <a:pt x="40" y="101"/>
                    <a:pt x="38" y="101"/>
                    <a:pt x="36" y="101"/>
                  </a:cubicBezTo>
                  <a:cubicBezTo>
                    <a:pt x="31" y="101"/>
                    <a:pt x="27" y="100"/>
                    <a:pt x="23" y="99"/>
                  </a:cubicBezTo>
                  <a:cubicBezTo>
                    <a:pt x="18" y="98"/>
                    <a:pt x="14" y="96"/>
                    <a:pt x="11" y="93"/>
                  </a:cubicBezTo>
                  <a:cubicBezTo>
                    <a:pt x="8" y="90"/>
                    <a:pt x="5" y="86"/>
                    <a:pt x="3" y="82"/>
                  </a:cubicBezTo>
                  <a:cubicBezTo>
                    <a:pt x="1" y="78"/>
                    <a:pt x="0" y="73"/>
                    <a:pt x="0" y="67"/>
                  </a:cubicBezTo>
                  <a:cubicBezTo>
                    <a:pt x="0" y="61"/>
                    <a:pt x="1" y="57"/>
                    <a:pt x="3" y="53"/>
                  </a:cubicBezTo>
                  <a:cubicBezTo>
                    <a:pt x="5" y="48"/>
                    <a:pt x="8" y="45"/>
                    <a:pt x="11" y="42"/>
                  </a:cubicBezTo>
                  <a:cubicBezTo>
                    <a:pt x="15" y="40"/>
                    <a:pt x="19" y="38"/>
                    <a:pt x="24" y="36"/>
                  </a:cubicBezTo>
                  <a:cubicBezTo>
                    <a:pt x="28" y="35"/>
                    <a:pt x="33" y="34"/>
                    <a:pt x="39" y="34"/>
                  </a:cubicBezTo>
                  <a:cubicBezTo>
                    <a:pt x="43" y="34"/>
                    <a:pt x="47" y="35"/>
                    <a:pt x="50" y="36"/>
                  </a:cubicBezTo>
                  <a:cubicBezTo>
                    <a:pt x="53" y="36"/>
                    <a:pt x="56" y="37"/>
                    <a:pt x="58" y="38"/>
                  </a:cubicBezTo>
                  <a:cubicBezTo>
                    <a:pt x="58" y="33"/>
                    <a:pt x="58" y="33"/>
                    <a:pt x="58" y="33"/>
                  </a:cubicBezTo>
                  <a:cubicBezTo>
                    <a:pt x="58" y="30"/>
                    <a:pt x="56" y="27"/>
                    <a:pt x="54" y="25"/>
                  </a:cubicBezTo>
                  <a:cubicBezTo>
                    <a:pt x="52" y="22"/>
                    <a:pt x="48" y="21"/>
                    <a:pt x="44" y="21"/>
                  </a:cubicBezTo>
                  <a:cubicBezTo>
                    <a:pt x="38" y="21"/>
                    <a:pt x="33" y="21"/>
                    <a:pt x="30" y="22"/>
                  </a:cubicBezTo>
                  <a:cubicBezTo>
                    <a:pt x="26" y="23"/>
                    <a:pt x="22" y="25"/>
                    <a:pt x="17" y="27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14" y="6"/>
                    <a:pt x="19" y="4"/>
                    <a:pt x="25" y="2"/>
                  </a:cubicBezTo>
                  <a:cubicBezTo>
                    <a:pt x="30" y="1"/>
                    <a:pt x="37" y="0"/>
                    <a:pt x="44" y="0"/>
                  </a:cubicBezTo>
                  <a:cubicBezTo>
                    <a:pt x="50" y="0"/>
                    <a:pt x="55" y="1"/>
                    <a:pt x="60" y="2"/>
                  </a:cubicBezTo>
                  <a:cubicBezTo>
                    <a:pt x="65" y="4"/>
                    <a:pt x="69" y="6"/>
                    <a:pt x="72" y="9"/>
                  </a:cubicBezTo>
                  <a:cubicBezTo>
                    <a:pt x="76" y="12"/>
                    <a:pt x="79" y="15"/>
                    <a:pt x="80" y="19"/>
                  </a:cubicBezTo>
                  <a:cubicBezTo>
                    <a:pt x="82" y="24"/>
                    <a:pt x="83" y="29"/>
                    <a:pt x="83" y="34"/>
                  </a:cubicBezTo>
                  <a:cubicBezTo>
                    <a:pt x="83" y="99"/>
                    <a:pt x="83" y="99"/>
                    <a:pt x="83" y="99"/>
                  </a:cubicBezTo>
                  <a:lnTo>
                    <a:pt x="58" y="99"/>
                  </a:lnTo>
                  <a:close/>
                  <a:moveTo>
                    <a:pt x="58" y="58"/>
                  </a:moveTo>
                  <a:cubicBezTo>
                    <a:pt x="57" y="58"/>
                    <a:pt x="55" y="57"/>
                    <a:pt x="54" y="57"/>
                  </a:cubicBezTo>
                  <a:cubicBezTo>
                    <a:pt x="53" y="56"/>
                    <a:pt x="52" y="56"/>
                    <a:pt x="51" y="55"/>
                  </a:cubicBezTo>
                  <a:cubicBezTo>
                    <a:pt x="49" y="55"/>
                    <a:pt x="48" y="55"/>
                    <a:pt x="46" y="55"/>
                  </a:cubicBezTo>
                  <a:cubicBezTo>
                    <a:pt x="44" y="54"/>
                    <a:pt x="42" y="54"/>
                    <a:pt x="40" y="54"/>
                  </a:cubicBezTo>
                  <a:cubicBezTo>
                    <a:pt x="35" y="54"/>
                    <a:pt x="31" y="55"/>
                    <a:pt x="29" y="58"/>
                  </a:cubicBezTo>
                  <a:cubicBezTo>
                    <a:pt x="26" y="60"/>
                    <a:pt x="25" y="63"/>
                    <a:pt x="25" y="67"/>
                  </a:cubicBezTo>
                  <a:cubicBezTo>
                    <a:pt x="25" y="68"/>
                    <a:pt x="25" y="70"/>
                    <a:pt x="26" y="71"/>
                  </a:cubicBezTo>
                  <a:cubicBezTo>
                    <a:pt x="26" y="73"/>
                    <a:pt x="27" y="74"/>
                    <a:pt x="28" y="76"/>
                  </a:cubicBezTo>
                  <a:cubicBezTo>
                    <a:pt x="30" y="77"/>
                    <a:pt x="31" y="78"/>
                    <a:pt x="33" y="78"/>
                  </a:cubicBezTo>
                  <a:cubicBezTo>
                    <a:pt x="35" y="79"/>
                    <a:pt x="37" y="80"/>
                    <a:pt x="40" y="80"/>
                  </a:cubicBezTo>
                  <a:cubicBezTo>
                    <a:pt x="42" y="80"/>
                    <a:pt x="44" y="79"/>
                    <a:pt x="46" y="79"/>
                  </a:cubicBezTo>
                  <a:cubicBezTo>
                    <a:pt x="48" y="78"/>
                    <a:pt x="49" y="78"/>
                    <a:pt x="51" y="77"/>
                  </a:cubicBezTo>
                  <a:cubicBezTo>
                    <a:pt x="52" y="76"/>
                    <a:pt x="54" y="75"/>
                    <a:pt x="55" y="74"/>
                  </a:cubicBezTo>
                  <a:cubicBezTo>
                    <a:pt x="56" y="73"/>
                    <a:pt x="57" y="72"/>
                    <a:pt x="58" y="71"/>
                  </a:cubicBezTo>
                  <a:lnTo>
                    <a:pt x="58" y="5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05" name="Freeform 29">
              <a:extLst>
                <a:ext uri="{FF2B5EF4-FFF2-40B4-BE49-F238E27FC236}">
                  <a16:creationId xmlns:a16="http://schemas.microsoft.com/office/drawing/2014/main" id="{A827519A-33F0-4CCB-AE07-C95A795FF2FB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477037" y="1430515"/>
              <a:ext cx="57529" cy="67989"/>
            </a:xfrm>
            <a:custGeom>
              <a:avLst/>
              <a:gdLst>
                <a:gd name="T0" fmla="*/ 59 w 84"/>
                <a:gd name="T1" fmla="*/ 99 h 99"/>
                <a:gd name="T2" fmla="*/ 59 w 84"/>
                <a:gd name="T3" fmla="*/ 47 h 99"/>
                <a:gd name="T4" fmla="*/ 55 w 84"/>
                <a:gd name="T5" fmla="*/ 30 h 99"/>
                <a:gd name="T6" fmla="*/ 42 w 84"/>
                <a:gd name="T7" fmla="*/ 24 h 99"/>
                <a:gd name="T8" fmla="*/ 35 w 84"/>
                <a:gd name="T9" fmla="*/ 25 h 99"/>
                <a:gd name="T10" fmla="*/ 30 w 84"/>
                <a:gd name="T11" fmla="*/ 29 h 99"/>
                <a:gd name="T12" fmla="*/ 27 w 84"/>
                <a:gd name="T13" fmla="*/ 35 h 99"/>
                <a:gd name="T14" fmla="*/ 26 w 84"/>
                <a:gd name="T15" fmla="*/ 46 h 99"/>
                <a:gd name="T16" fmla="*/ 26 w 84"/>
                <a:gd name="T17" fmla="*/ 99 h 99"/>
                <a:gd name="T18" fmla="*/ 0 w 84"/>
                <a:gd name="T19" fmla="*/ 99 h 99"/>
                <a:gd name="T20" fmla="*/ 0 w 84"/>
                <a:gd name="T21" fmla="*/ 2 h 99"/>
                <a:gd name="T22" fmla="*/ 26 w 84"/>
                <a:gd name="T23" fmla="*/ 2 h 99"/>
                <a:gd name="T24" fmla="*/ 26 w 84"/>
                <a:gd name="T25" fmla="*/ 8 h 99"/>
                <a:gd name="T26" fmla="*/ 30 w 84"/>
                <a:gd name="T27" fmla="*/ 5 h 99"/>
                <a:gd name="T28" fmla="*/ 35 w 84"/>
                <a:gd name="T29" fmla="*/ 2 h 99"/>
                <a:gd name="T30" fmla="*/ 41 w 84"/>
                <a:gd name="T31" fmla="*/ 1 h 99"/>
                <a:gd name="T32" fmla="*/ 48 w 84"/>
                <a:gd name="T33" fmla="*/ 0 h 99"/>
                <a:gd name="T34" fmla="*/ 64 w 84"/>
                <a:gd name="T35" fmla="*/ 3 h 99"/>
                <a:gd name="T36" fmla="*/ 76 w 84"/>
                <a:gd name="T37" fmla="*/ 12 h 99"/>
                <a:gd name="T38" fmla="*/ 82 w 84"/>
                <a:gd name="T39" fmla="*/ 26 h 99"/>
                <a:gd name="T40" fmla="*/ 84 w 84"/>
                <a:gd name="T41" fmla="*/ 44 h 99"/>
                <a:gd name="T42" fmla="*/ 84 w 84"/>
                <a:gd name="T43" fmla="*/ 99 h 99"/>
                <a:gd name="T44" fmla="*/ 59 w 84"/>
                <a:gd name="T45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4" h="99">
                  <a:moveTo>
                    <a:pt x="59" y="99"/>
                  </a:moveTo>
                  <a:cubicBezTo>
                    <a:pt x="59" y="47"/>
                    <a:pt x="59" y="47"/>
                    <a:pt x="59" y="47"/>
                  </a:cubicBezTo>
                  <a:cubicBezTo>
                    <a:pt x="59" y="39"/>
                    <a:pt x="58" y="33"/>
                    <a:pt x="55" y="30"/>
                  </a:cubicBezTo>
                  <a:cubicBezTo>
                    <a:pt x="53" y="26"/>
                    <a:pt x="48" y="24"/>
                    <a:pt x="42" y="24"/>
                  </a:cubicBezTo>
                  <a:cubicBezTo>
                    <a:pt x="40" y="24"/>
                    <a:pt x="37" y="24"/>
                    <a:pt x="35" y="25"/>
                  </a:cubicBezTo>
                  <a:cubicBezTo>
                    <a:pt x="33" y="26"/>
                    <a:pt x="31" y="27"/>
                    <a:pt x="30" y="29"/>
                  </a:cubicBezTo>
                  <a:cubicBezTo>
                    <a:pt x="29" y="30"/>
                    <a:pt x="28" y="33"/>
                    <a:pt x="27" y="35"/>
                  </a:cubicBezTo>
                  <a:cubicBezTo>
                    <a:pt x="26" y="38"/>
                    <a:pt x="26" y="42"/>
                    <a:pt x="26" y="46"/>
                  </a:cubicBezTo>
                  <a:cubicBezTo>
                    <a:pt x="26" y="99"/>
                    <a:pt x="26" y="99"/>
                    <a:pt x="26" y="99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7" y="7"/>
                    <a:pt x="28" y="6"/>
                    <a:pt x="30" y="5"/>
                  </a:cubicBezTo>
                  <a:cubicBezTo>
                    <a:pt x="31" y="4"/>
                    <a:pt x="33" y="3"/>
                    <a:pt x="35" y="2"/>
                  </a:cubicBezTo>
                  <a:cubicBezTo>
                    <a:pt x="37" y="2"/>
                    <a:pt x="39" y="1"/>
                    <a:pt x="41" y="1"/>
                  </a:cubicBezTo>
                  <a:cubicBezTo>
                    <a:pt x="44" y="0"/>
                    <a:pt x="46" y="0"/>
                    <a:pt x="48" y="0"/>
                  </a:cubicBezTo>
                  <a:cubicBezTo>
                    <a:pt x="55" y="0"/>
                    <a:pt x="60" y="1"/>
                    <a:pt x="64" y="3"/>
                  </a:cubicBezTo>
                  <a:cubicBezTo>
                    <a:pt x="69" y="5"/>
                    <a:pt x="73" y="8"/>
                    <a:pt x="76" y="12"/>
                  </a:cubicBezTo>
                  <a:cubicBezTo>
                    <a:pt x="79" y="16"/>
                    <a:pt x="81" y="20"/>
                    <a:pt x="82" y="26"/>
                  </a:cubicBezTo>
                  <a:cubicBezTo>
                    <a:pt x="84" y="31"/>
                    <a:pt x="84" y="38"/>
                    <a:pt x="84" y="44"/>
                  </a:cubicBezTo>
                  <a:cubicBezTo>
                    <a:pt x="84" y="99"/>
                    <a:pt x="84" y="99"/>
                    <a:pt x="84" y="99"/>
                  </a:cubicBezTo>
                  <a:lnTo>
                    <a:pt x="59" y="9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06" name="Freeform 30">
              <a:extLst>
                <a:ext uri="{FF2B5EF4-FFF2-40B4-BE49-F238E27FC236}">
                  <a16:creationId xmlns:a16="http://schemas.microsoft.com/office/drawing/2014/main" id="{4BC09A9F-8959-48BA-9B94-7840D333316F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10547642" y="1406980"/>
              <a:ext cx="57529" cy="92832"/>
            </a:xfrm>
            <a:custGeom>
              <a:avLst/>
              <a:gdLst>
                <a:gd name="T0" fmla="*/ 58 w 84"/>
                <a:gd name="T1" fmla="*/ 135 h 137"/>
                <a:gd name="T2" fmla="*/ 58 w 84"/>
                <a:gd name="T3" fmla="*/ 129 h 137"/>
                <a:gd name="T4" fmla="*/ 55 w 84"/>
                <a:gd name="T5" fmla="*/ 132 h 137"/>
                <a:gd name="T6" fmla="*/ 50 w 84"/>
                <a:gd name="T7" fmla="*/ 135 h 137"/>
                <a:gd name="T8" fmla="*/ 45 w 84"/>
                <a:gd name="T9" fmla="*/ 137 h 137"/>
                <a:gd name="T10" fmla="*/ 38 w 84"/>
                <a:gd name="T11" fmla="*/ 137 h 137"/>
                <a:gd name="T12" fmla="*/ 23 w 84"/>
                <a:gd name="T13" fmla="*/ 134 h 137"/>
                <a:gd name="T14" fmla="*/ 11 w 84"/>
                <a:gd name="T15" fmla="*/ 125 h 137"/>
                <a:gd name="T16" fmla="*/ 3 w 84"/>
                <a:gd name="T17" fmla="*/ 109 h 137"/>
                <a:gd name="T18" fmla="*/ 0 w 84"/>
                <a:gd name="T19" fmla="*/ 85 h 137"/>
                <a:gd name="T20" fmla="*/ 3 w 84"/>
                <a:gd name="T21" fmla="*/ 65 h 137"/>
                <a:gd name="T22" fmla="*/ 10 w 84"/>
                <a:gd name="T23" fmla="*/ 50 h 137"/>
                <a:gd name="T24" fmla="*/ 22 w 84"/>
                <a:gd name="T25" fmla="*/ 40 h 137"/>
                <a:gd name="T26" fmla="*/ 38 w 84"/>
                <a:gd name="T27" fmla="*/ 36 h 137"/>
                <a:gd name="T28" fmla="*/ 44 w 84"/>
                <a:gd name="T29" fmla="*/ 36 h 137"/>
                <a:gd name="T30" fmla="*/ 50 w 84"/>
                <a:gd name="T31" fmla="*/ 38 h 137"/>
                <a:gd name="T32" fmla="*/ 55 w 84"/>
                <a:gd name="T33" fmla="*/ 41 h 137"/>
                <a:gd name="T34" fmla="*/ 58 w 84"/>
                <a:gd name="T35" fmla="*/ 44 h 137"/>
                <a:gd name="T36" fmla="*/ 58 w 84"/>
                <a:gd name="T37" fmla="*/ 13 h 137"/>
                <a:gd name="T38" fmla="*/ 84 w 84"/>
                <a:gd name="T39" fmla="*/ 0 h 137"/>
                <a:gd name="T40" fmla="*/ 84 w 84"/>
                <a:gd name="T41" fmla="*/ 135 h 137"/>
                <a:gd name="T42" fmla="*/ 58 w 84"/>
                <a:gd name="T43" fmla="*/ 135 h 137"/>
                <a:gd name="T44" fmla="*/ 58 w 84"/>
                <a:gd name="T45" fmla="*/ 68 h 137"/>
                <a:gd name="T46" fmla="*/ 55 w 84"/>
                <a:gd name="T47" fmla="*/ 65 h 137"/>
                <a:gd name="T48" fmla="*/ 52 w 84"/>
                <a:gd name="T49" fmla="*/ 62 h 137"/>
                <a:gd name="T50" fmla="*/ 47 w 84"/>
                <a:gd name="T51" fmla="*/ 61 h 137"/>
                <a:gd name="T52" fmla="*/ 41 w 84"/>
                <a:gd name="T53" fmla="*/ 60 h 137"/>
                <a:gd name="T54" fmla="*/ 30 w 84"/>
                <a:gd name="T55" fmla="*/ 66 h 137"/>
                <a:gd name="T56" fmla="*/ 26 w 84"/>
                <a:gd name="T57" fmla="*/ 85 h 137"/>
                <a:gd name="T58" fmla="*/ 27 w 84"/>
                <a:gd name="T59" fmla="*/ 98 h 137"/>
                <a:gd name="T60" fmla="*/ 31 w 84"/>
                <a:gd name="T61" fmla="*/ 106 h 137"/>
                <a:gd name="T62" fmla="*/ 36 w 84"/>
                <a:gd name="T63" fmla="*/ 111 h 137"/>
                <a:gd name="T64" fmla="*/ 43 w 84"/>
                <a:gd name="T65" fmla="*/ 113 h 137"/>
                <a:gd name="T66" fmla="*/ 48 w 84"/>
                <a:gd name="T67" fmla="*/ 112 h 137"/>
                <a:gd name="T68" fmla="*/ 52 w 84"/>
                <a:gd name="T69" fmla="*/ 111 h 137"/>
                <a:gd name="T70" fmla="*/ 56 w 84"/>
                <a:gd name="T71" fmla="*/ 108 h 137"/>
                <a:gd name="T72" fmla="*/ 58 w 84"/>
                <a:gd name="T73" fmla="*/ 105 h 137"/>
                <a:gd name="T74" fmla="*/ 58 w 84"/>
                <a:gd name="T75" fmla="*/ 68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4" h="137">
                  <a:moveTo>
                    <a:pt x="58" y="135"/>
                  </a:moveTo>
                  <a:cubicBezTo>
                    <a:pt x="58" y="129"/>
                    <a:pt x="58" y="129"/>
                    <a:pt x="58" y="129"/>
                  </a:cubicBezTo>
                  <a:cubicBezTo>
                    <a:pt x="57" y="130"/>
                    <a:pt x="56" y="131"/>
                    <a:pt x="55" y="132"/>
                  </a:cubicBezTo>
                  <a:cubicBezTo>
                    <a:pt x="53" y="133"/>
                    <a:pt x="52" y="134"/>
                    <a:pt x="50" y="135"/>
                  </a:cubicBezTo>
                  <a:cubicBezTo>
                    <a:pt x="48" y="136"/>
                    <a:pt x="47" y="136"/>
                    <a:pt x="45" y="137"/>
                  </a:cubicBezTo>
                  <a:cubicBezTo>
                    <a:pt x="43" y="137"/>
                    <a:pt x="40" y="137"/>
                    <a:pt x="38" y="137"/>
                  </a:cubicBezTo>
                  <a:cubicBezTo>
                    <a:pt x="33" y="137"/>
                    <a:pt x="28" y="136"/>
                    <a:pt x="23" y="134"/>
                  </a:cubicBezTo>
                  <a:cubicBezTo>
                    <a:pt x="19" y="132"/>
                    <a:pt x="15" y="129"/>
                    <a:pt x="11" y="125"/>
                  </a:cubicBezTo>
                  <a:cubicBezTo>
                    <a:pt x="8" y="121"/>
                    <a:pt x="5" y="115"/>
                    <a:pt x="3" y="109"/>
                  </a:cubicBezTo>
                  <a:cubicBezTo>
                    <a:pt x="1" y="102"/>
                    <a:pt x="0" y="94"/>
                    <a:pt x="0" y="85"/>
                  </a:cubicBezTo>
                  <a:cubicBezTo>
                    <a:pt x="0" y="78"/>
                    <a:pt x="1" y="71"/>
                    <a:pt x="3" y="65"/>
                  </a:cubicBezTo>
                  <a:cubicBezTo>
                    <a:pt x="4" y="59"/>
                    <a:pt x="7" y="54"/>
                    <a:pt x="10" y="50"/>
                  </a:cubicBezTo>
                  <a:cubicBezTo>
                    <a:pt x="13" y="45"/>
                    <a:pt x="17" y="42"/>
                    <a:pt x="22" y="40"/>
                  </a:cubicBezTo>
                  <a:cubicBezTo>
                    <a:pt x="27" y="37"/>
                    <a:pt x="32" y="36"/>
                    <a:pt x="38" y="36"/>
                  </a:cubicBezTo>
                  <a:cubicBezTo>
                    <a:pt x="40" y="36"/>
                    <a:pt x="42" y="36"/>
                    <a:pt x="44" y="36"/>
                  </a:cubicBezTo>
                  <a:cubicBezTo>
                    <a:pt x="46" y="37"/>
                    <a:pt x="48" y="37"/>
                    <a:pt x="50" y="38"/>
                  </a:cubicBezTo>
                  <a:cubicBezTo>
                    <a:pt x="52" y="39"/>
                    <a:pt x="53" y="40"/>
                    <a:pt x="55" y="41"/>
                  </a:cubicBezTo>
                  <a:cubicBezTo>
                    <a:pt x="56" y="42"/>
                    <a:pt x="57" y="42"/>
                    <a:pt x="58" y="44"/>
                  </a:cubicBezTo>
                  <a:cubicBezTo>
                    <a:pt x="58" y="13"/>
                    <a:pt x="58" y="13"/>
                    <a:pt x="58" y="13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135"/>
                    <a:pt x="84" y="135"/>
                    <a:pt x="84" y="135"/>
                  </a:cubicBezTo>
                  <a:lnTo>
                    <a:pt x="58" y="135"/>
                  </a:lnTo>
                  <a:close/>
                  <a:moveTo>
                    <a:pt x="58" y="68"/>
                  </a:moveTo>
                  <a:cubicBezTo>
                    <a:pt x="57" y="67"/>
                    <a:pt x="56" y="66"/>
                    <a:pt x="55" y="65"/>
                  </a:cubicBezTo>
                  <a:cubicBezTo>
                    <a:pt x="54" y="64"/>
                    <a:pt x="53" y="63"/>
                    <a:pt x="52" y="62"/>
                  </a:cubicBezTo>
                  <a:cubicBezTo>
                    <a:pt x="50" y="62"/>
                    <a:pt x="49" y="61"/>
                    <a:pt x="47" y="61"/>
                  </a:cubicBezTo>
                  <a:cubicBezTo>
                    <a:pt x="45" y="60"/>
                    <a:pt x="43" y="60"/>
                    <a:pt x="41" y="60"/>
                  </a:cubicBezTo>
                  <a:cubicBezTo>
                    <a:pt x="36" y="60"/>
                    <a:pt x="33" y="62"/>
                    <a:pt x="30" y="66"/>
                  </a:cubicBezTo>
                  <a:cubicBezTo>
                    <a:pt x="27" y="70"/>
                    <a:pt x="26" y="77"/>
                    <a:pt x="26" y="85"/>
                  </a:cubicBezTo>
                  <a:cubicBezTo>
                    <a:pt x="26" y="90"/>
                    <a:pt x="27" y="94"/>
                    <a:pt x="27" y="98"/>
                  </a:cubicBezTo>
                  <a:cubicBezTo>
                    <a:pt x="28" y="101"/>
                    <a:pt x="29" y="104"/>
                    <a:pt x="31" y="106"/>
                  </a:cubicBezTo>
                  <a:cubicBezTo>
                    <a:pt x="32" y="109"/>
                    <a:pt x="34" y="110"/>
                    <a:pt x="36" y="111"/>
                  </a:cubicBezTo>
                  <a:cubicBezTo>
                    <a:pt x="38" y="113"/>
                    <a:pt x="40" y="113"/>
                    <a:pt x="43" y="113"/>
                  </a:cubicBezTo>
                  <a:cubicBezTo>
                    <a:pt x="45" y="113"/>
                    <a:pt x="46" y="113"/>
                    <a:pt x="48" y="112"/>
                  </a:cubicBezTo>
                  <a:cubicBezTo>
                    <a:pt x="50" y="112"/>
                    <a:pt x="51" y="112"/>
                    <a:pt x="52" y="111"/>
                  </a:cubicBezTo>
                  <a:cubicBezTo>
                    <a:pt x="53" y="110"/>
                    <a:pt x="55" y="109"/>
                    <a:pt x="56" y="108"/>
                  </a:cubicBezTo>
                  <a:cubicBezTo>
                    <a:pt x="57" y="107"/>
                    <a:pt x="58" y="106"/>
                    <a:pt x="58" y="105"/>
                  </a:cubicBezTo>
                  <a:lnTo>
                    <a:pt x="58" y="6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07" name="Freeform 31">
              <a:extLst>
                <a:ext uri="{FF2B5EF4-FFF2-40B4-BE49-F238E27FC236}">
                  <a16:creationId xmlns:a16="http://schemas.microsoft.com/office/drawing/2014/main" id="{125CF3D1-4644-4A4C-A605-6CBB28099392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1214461" y="970279"/>
              <a:ext cx="83679" cy="112444"/>
            </a:xfrm>
            <a:custGeom>
              <a:avLst/>
              <a:gdLst>
                <a:gd name="T0" fmla="*/ 123 w 123"/>
                <a:gd name="T1" fmla="*/ 94 h 165"/>
                <a:gd name="T2" fmla="*/ 107 w 123"/>
                <a:gd name="T3" fmla="*/ 147 h 165"/>
                <a:gd name="T4" fmla="*/ 62 w 123"/>
                <a:gd name="T5" fmla="*/ 165 h 165"/>
                <a:gd name="T6" fmla="*/ 39 w 123"/>
                <a:gd name="T7" fmla="*/ 161 h 165"/>
                <a:gd name="T8" fmla="*/ 22 w 123"/>
                <a:gd name="T9" fmla="*/ 151 h 165"/>
                <a:gd name="T10" fmla="*/ 8 w 123"/>
                <a:gd name="T11" fmla="*/ 136 h 165"/>
                <a:gd name="T12" fmla="*/ 0 w 123"/>
                <a:gd name="T13" fmla="*/ 117 h 165"/>
                <a:gd name="T14" fmla="*/ 31 w 123"/>
                <a:gd name="T15" fmla="*/ 108 h 165"/>
                <a:gd name="T16" fmla="*/ 36 w 123"/>
                <a:gd name="T17" fmla="*/ 119 h 165"/>
                <a:gd name="T18" fmla="*/ 43 w 123"/>
                <a:gd name="T19" fmla="*/ 126 h 165"/>
                <a:gd name="T20" fmla="*/ 51 w 123"/>
                <a:gd name="T21" fmla="*/ 131 h 165"/>
                <a:gd name="T22" fmla="*/ 62 w 123"/>
                <a:gd name="T23" fmla="*/ 132 h 165"/>
                <a:gd name="T24" fmla="*/ 75 w 123"/>
                <a:gd name="T25" fmla="*/ 130 h 165"/>
                <a:gd name="T26" fmla="*/ 84 w 123"/>
                <a:gd name="T27" fmla="*/ 123 h 165"/>
                <a:gd name="T28" fmla="*/ 89 w 123"/>
                <a:gd name="T29" fmla="*/ 111 h 165"/>
                <a:gd name="T30" fmla="*/ 91 w 123"/>
                <a:gd name="T31" fmla="*/ 95 h 165"/>
                <a:gd name="T32" fmla="*/ 91 w 123"/>
                <a:gd name="T33" fmla="*/ 0 h 165"/>
                <a:gd name="T34" fmla="*/ 123 w 123"/>
                <a:gd name="T35" fmla="*/ 0 h 165"/>
                <a:gd name="T36" fmla="*/ 123 w 123"/>
                <a:gd name="T37" fmla="*/ 94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3" h="165">
                  <a:moveTo>
                    <a:pt x="123" y="94"/>
                  </a:moveTo>
                  <a:cubicBezTo>
                    <a:pt x="123" y="117"/>
                    <a:pt x="118" y="135"/>
                    <a:pt x="107" y="147"/>
                  </a:cubicBezTo>
                  <a:cubicBezTo>
                    <a:pt x="97" y="159"/>
                    <a:pt x="81" y="165"/>
                    <a:pt x="62" y="165"/>
                  </a:cubicBezTo>
                  <a:cubicBezTo>
                    <a:pt x="54" y="165"/>
                    <a:pt x="46" y="163"/>
                    <a:pt x="39" y="161"/>
                  </a:cubicBezTo>
                  <a:cubicBezTo>
                    <a:pt x="33" y="159"/>
                    <a:pt x="27" y="155"/>
                    <a:pt x="22" y="151"/>
                  </a:cubicBezTo>
                  <a:cubicBezTo>
                    <a:pt x="16" y="147"/>
                    <a:pt x="12" y="142"/>
                    <a:pt x="8" y="136"/>
                  </a:cubicBezTo>
                  <a:cubicBezTo>
                    <a:pt x="4" y="130"/>
                    <a:pt x="2" y="124"/>
                    <a:pt x="0" y="117"/>
                  </a:cubicBezTo>
                  <a:cubicBezTo>
                    <a:pt x="31" y="108"/>
                    <a:pt x="31" y="108"/>
                    <a:pt x="31" y="108"/>
                  </a:cubicBezTo>
                  <a:cubicBezTo>
                    <a:pt x="33" y="113"/>
                    <a:pt x="35" y="116"/>
                    <a:pt x="36" y="119"/>
                  </a:cubicBezTo>
                  <a:cubicBezTo>
                    <a:pt x="38" y="122"/>
                    <a:pt x="40" y="124"/>
                    <a:pt x="43" y="126"/>
                  </a:cubicBezTo>
                  <a:cubicBezTo>
                    <a:pt x="45" y="128"/>
                    <a:pt x="48" y="130"/>
                    <a:pt x="51" y="131"/>
                  </a:cubicBezTo>
                  <a:cubicBezTo>
                    <a:pt x="54" y="132"/>
                    <a:pt x="58" y="132"/>
                    <a:pt x="62" y="132"/>
                  </a:cubicBezTo>
                  <a:cubicBezTo>
                    <a:pt x="67" y="132"/>
                    <a:pt x="71" y="131"/>
                    <a:pt x="75" y="130"/>
                  </a:cubicBezTo>
                  <a:cubicBezTo>
                    <a:pt x="78" y="128"/>
                    <a:pt x="81" y="126"/>
                    <a:pt x="84" y="123"/>
                  </a:cubicBezTo>
                  <a:cubicBezTo>
                    <a:pt x="86" y="119"/>
                    <a:pt x="88" y="115"/>
                    <a:pt x="89" y="111"/>
                  </a:cubicBezTo>
                  <a:cubicBezTo>
                    <a:pt x="90" y="106"/>
                    <a:pt x="91" y="101"/>
                    <a:pt x="91" y="95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123" y="0"/>
                    <a:pt x="123" y="0"/>
                    <a:pt x="123" y="0"/>
                  </a:cubicBezTo>
                  <a:lnTo>
                    <a:pt x="123" y="9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08" name="Freeform 32">
              <a:extLst>
                <a:ext uri="{FF2B5EF4-FFF2-40B4-BE49-F238E27FC236}">
                  <a16:creationId xmlns:a16="http://schemas.microsoft.com/office/drawing/2014/main" id="{5C66EC1B-AD1B-491B-A19A-A2C96C78BC6A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11312522" y="970279"/>
              <a:ext cx="105907" cy="111137"/>
            </a:xfrm>
            <a:custGeom>
              <a:avLst/>
              <a:gdLst>
                <a:gd name="T0" fmla="*/ 81 w 81"/>
                <a:gd name="T1" fmla="*/ 85 h 85"/>
                <a:gd name="T2" fmla="*/ 63 w 81"/>
                <a:gd name="T3" fmla="*/ 85 h 85"/>
                <a:gd name="T4" fmla="*/ 56 w 81"/>
                <a:gd name="T5" fmla="*/ 66 h 85"/>
                <a:gd name="T6" fmla="*/ 24 w 81"/>
                <a:gd name="T7" fmla="*/ 66 h 85"/>
                <a:gd name="T8" fmla="*/ 18 w 81"/>
                <a:gd name="T9" fmla="*/ 85 h 85"/>
                <a:gd name="T10" fmla="*/ 0 w 81"/>
                <a:gd name="T11" fmla="*/ 85 h 85"/>
                <a:gd name="T12" fmla="*/ 32 w 81"/>
                <a:gd name="T13" fmla="*/ 0 h 85"/>
                <a:gd name="T14" fmla="*/ 49 w 81"/>
                <a:gd name="T15" fmla="*/ 0 h 85"/>
                <a:gd name="T16" fmla="*/ 81 w 81"/>
                <a:gd name="T17" fmla="*/ 85 h 85"/>
                <a:gd name="T18" fmla="*/ 50 w 81"/>
                <a:gd name="T19" fmla="*/ 50 h 85"/>
                <a:gd name="T20" fmla="*/ 40 w 81"/>
                <a:gd name="T21" fmla="*/ 22 h 85"/>
                <a:gd name="T22" fmla="*/ 31 w 81"/>
                <a:gd name="T23" fmla="*/ 50 h 85"/>
                <a:gd name="T24" fmla="*/ 50 w 81"/>
                <a:gd name="T25" fmla="*/ 5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1" h="85">
                  <a:moveTo>
                    <a:pt x="81" y="85"/>
                  </a:moveTo>
                  <a:lnTo>
                    <a:pt x="63" y="85"/>
                  </a:lnTo>
                  <a:lnTo>
                    <a:pt x="56" y="66"/>
                  </a:lnTo>
                  <a:lnTo>
                    <a:pt x="24" y="66"/>
                  </a:lnTo>
                  <a:lnTo>
                    <a:pt x="18" y="85"/>
                  </a:lnTo>
                  <a:lnTo>
                    <a:pt x="0" y="85"/>
                  </a:lnTo>
                  <a:lnTo>
                    <a:pt x="32" y="0"/>
                  </a:lnTo>
                  <a:lnTo>
                    <a:pt x="49" y="0"/>
                  </a:lnTo>
                  <a:lnTo>
                    <a:pt x="81" y="85"/>
                  </a:lnTo>
                  <a:close/>
                  <a:moveTo>
                    <a:pt x="50" y="50"/>
                  </a:moveTo>
                  <a:lnTo>
                    <a:pt x="40" y="22"/>
                  </a:lnTo>
                  <a:lnTo>
                    <a:pt x="31" y="50"/>
                  </a:lnTo>
                  <a:lnTo>
                    <a:pt x="50" y="5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09" name="Freeform 33">
              <a:extLst>
                <a:ext uri="{FF2B5EF4-FFF2-40B4-BE49-F238E27FC236}">
                  <a16:creationId xmlns:a16="http://schemas.microsoft.com/office/drawing/2014/main" id="{DE0C7275-54C1-4C0E-A900-3BA9CF18FC7F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1439349" y="970279"/>
              <a:ext cx="88909" cy="111137"/>
            </a:xfrm>
            <a:custGeom>
              <a:avLst/>
              <a:gdLst>
                <a:gd name="T0" fmla="*/ 51 w 68"/>
                <a:gd name="T1" fmla="*/ 85 h 85"/>
                <a:gd name="T2" fmla="*/ 51 w 68"/>
                <a:gd name="T3" fmla="*/ 49 h 85"/>
                <a:gd name="T4" fmla="*/ 17 w 68"/>
                <a:gd name="T5" fmla="*/ 49 h 85"/>
                <a:gd name="T6" fmla="*/ 17 w 68"/>
                <a:gd name="T7" fmla="*/ 85 h 85"/>
                <a:gd name="T8" fmla="*/ 0 w 68"/>
                <a:gd name="T9" fmla="*/ 85 h 85"/>
                <a:gd name="T10" fmla="*/ 0 w 68"/>
                <a:gd name="T11" fmla="*/ 0 h 85"/>
                <a:gd name="T12" fmla="*/ 17 w 68"/>
                <a:gd name="T13" fmla="*/ 0 h 85"/>
                <a:gd name="T14" fmla="*/ 17 w 68"/>
                <a:gd name="T15" fmla="*/ 33 h 85"/>
                <a:gd name="T16" fmla="*/ 51 w 68"/>
                <a:gd name="T17" fmla="*/ 33 h 85"/>
                <a:gd name="T18" fmla="*/ 51 w 68"/>
                <a:gd name="T19" fmla="*/ 0 h 85"/>
                <a:gd name="T20" fmla="*/ 68 w 68"/>
                <a:gd name="T21" fmla="*/ 0 h 85"/>
                <a:gd name="T22" fmla="*/ 68 w 68"/>
                <a:gd name="T23" fmla="*/ 85 h 85"/>
                <a:gd name="T24" fmla="*/ 51 w 68"/>
                <a:gd name="T25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8" h="85">
                  <a:moveTo>
                    <a:pt x="51" y="85"/>
                  </a:moveTo>
                  <a:lnTo>
                    <a:pt x="51" y="49"/>
                  </a:lnTo>
                  <a:lnTo>
                    <a:pt x="17" y="49"/>
                  </a:lnTo>
                  <a:lnTo>
                    <a:pt x="17" y="85"/>
                  </a:lnTo>
                  <a:lnTo>
                    <a:pt x="0" y="85"/>
                  </a:lnTo>
                  <a:lnTo>
                    <a:pt x="0" y="0"/>
                  </a:lnTo>
                  <a:lnTo>
                    <a:pt x="17" y="0"/>
                  </a:lnTo>
                  <a:lnTo>
                    <a:pt x="17" y="33"/>
                  </a:lnTo>
                  <a:lnTo>
                    <a:pt x="51" y="33"/>
                  </a:lnTo>
                  <a:lnTo>
                    <a:pt x="51" y="0"/>
                  </a:lnTo>
                  <a:lnTo>
                    <a:pt x="68" y="0"/>
                  </a:lnTo>
                  <a:lnTo>
                    <a:pt x="68" y="85"/>
                  </a:lnTo>
                  <a:lnTo>
                    <a:pt x="51" y="8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10" name="Freeform 34">
              <a:extLst>
                <a:ext uri="{FF2B5EF4-FFF2-40B4-BE49-F238E27FC236}">
                  <a16:creationId xmlns:a16="http://schemas.microsoft.com/office/drawing/2014/main" id="{0A332B72-1C98-486F-B1D7-FD53CDB0B0EC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11557023" y="970279"/>
              <a:ext cx="90217" cy="111137"/>
            </a:xfrm>
            <a:custGeom>
              <a:avLst/>
              <a:gdLst>
                <a:gd name="T0" fmla="*/ 94 w 131"/>
                <a:gd name="T1" fmla="*/ 162 h 162"/>
                <a:gd name="T2" fmla="*/ 65 w 131"/>
                <a:gd name="T3" fmla="*/ 104 h 162"/>
                <a:gd name="T4" fmla="*/ 32 w 131"/>
                <a:gd name="T5" fmla="*/ 104 h 162"/>
                <a:gd name="T6" fmla="*/ 32 w 131"/>
                <a:gd name="T7" fmla="*/ 162 h 162"/>
                <a:gd name="T8" fmla="*/ 0 w 131"/>
                <a:gd name="T9" fmla="*/ 162 h 162"/>
                <a:gd name="T10" fmla="*/ 0 w 131"/>
                <a:gd name="T11" fmla="*/ 0 h 162"/>
                <a:gd name="T12" fmla="*/ 75 w 131"/>
                <a:gd name="T13" fmla="*/ 0 h 162"/>
                <a:gd name="T14" fmla="*/ 97 w 131"/>
                <a:gd name="T15" fmla="*/ 3 h 162"/>
                <a:gd name="T16" fmla="*/ 115 w 131"/>
                <a:gd name="T17" fmla="*/ 12 h 162"/>
                <a:gd name="T18" fmla="*/ 127 w 131"/>
                <a:gd name="T19" fmla="*/ 29 h 162"/>
                <a:gd name="T20" fmla="*/ 131 w 131"/>
                <a:gd name="T21" fmla="*/ 51 h 162"/>
                <a:gd name="T22" fmla="*/ 129 w 131"/>
                <a:gd name="T23" fmla="*/ 68 h 162"/>
                <a:gd name="T24" fmla="*/ 123 w 131"/>
                <a:gd name="T25" fmla="*/ 81 h 162"/>
                <a:gd name="T26" fmla="*/ 113 w 131"/>
                <a:gd name="T27" fmla="*/ 92 h 162"/>
                <a:gd name="T28" fmla="*/ 100 w 131"/>
                <a:gd name="T29" fmla="*/ 99 h 162"/>
                <a:gd name="T30" fmla="*/ 131 w 131"/>
                <a:gd name="T31" fmla="*/ 162 h 162"/>
                <a:gd name="T32" fmla="*/ 94 w 131"/>
                <a:gd name="T33" fmla="*/ 162 h 162"/>
                <a:gd name="T34" fmla="*/ 98 w 131"/>
                <a:gd name="T35" fmla="*/ 52 h 162"/>
                <a:gd name="T36" fmla="*/ 96 w 131"/>
                <a:gd name="T37" fmla="*/ 42 h 162"/>
                <a:gd name="T38" fmla="*/ 91 w 131"/>
                <a:gd name="T39" fmla="*/ 36 h 162"/>
                <a:gd name="T40" fmla="*/ 84 w 131"/>
                <a:gd name="T41" fmla="*/ 32 h 162"/>
                <a:gd name="T42" fmla="*/ 75 w 131"/>
                <a:gd name="T43" fmla="*/ 31 h 162"/>
                <a:gd name="T44" fmla="*/ 32 w 131"/>
                <a:gd name="T45" fmla="*/ 31 h 162"/>
                <a:gd name="T46" fmla="*/ 32 w 131"/>
                <a:gd name="T47" fmla="*/ 73 h 162"/>
                <a:gd name="T48" fmla="*/ 75 w 131"/>
                <a:gd name="T49" fmla="*/ 73 h 162"/>
                <a:gd name="T50" fmla="*/ 85 w 131"/>
                <a:gd name="T51" fmla="*/ 72 h 162"/>
                <a:gd name="T52" fmla="*/ 92 w 131"/>
                <a:gd name="T53" fmla="*/ 67 h 162"/>
                <a:gd name="T54" fmla="*/ 96 w 131"/>
                <a:gd name="T55" fmla="*/ 61 h 162"/>
                <a:gd name="T56" fmla="*/ 98 w 131"/>
                <a:gd name="T57" fmla="*/ 5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31" h="162">
                  <a:moveTo>
                    <a:pt x="94" y="162"/>
                  </a:moveTo>
                  <a:cubicBezTo>
                    <a:pt x="65" y="104"/>
                    <a:pt x="65" y="104"/>
                    <a:pt x="65" y="104"/>
                  </a:cubicBezTo>
                  <a:cubicBezTo>
                    <a:pt x="32" y="104"/>
                    <a:pt x="32" y="104"/>
                    <a:pt x="32" y="104"/>
                  </a:cubicBezTo>
                  <a:cubicBezTo>
                    <a:pt x="32" y="162"/>
                    <a:pt x="32" y="162"/>
                    <a:pt x="32" y="162"/>
                  </a:cubicBezTo>
                  <a:cubicBezTo>
                    <a:pt x="0" y="162"/>
                    <a:pt x="0" y="162"/>
                    <a:pt x="0" y="16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83" y="0"/>
                    <a:pt x="90" y="1"/>
                    <a:pt x="97" y="3"/>
                  </a:cubicBezTo>
                  <a:cubicBezTo>
                    <a:pt x="104" y="5"/>
                    <a:pt x="110" y="8"/>
                    <a:pt x="115" y="12"/>
                  </a:cubicBezTo>
                  <a:cubicBezTo>
                    <a:pt x="120" y="17"/>
                    <a:pt x="124" y="22"/>
                    <a:pt x="127" y="29"/>
                  </a:cubicBezTo>
                  <a:cubicBezTo>
                    <a:pt x="130" y="35"/>
                    <a:pt x="131" y="42"/>
                    <a:pt x="131" y="51"/>
                  </a:cubicBezTo>
                  <a:cubicBezTo>
                    <a:pt x="131" y="58"/>
                    <a:pt x="130" y="63"/>
                    <a:pt x="129" y="68"/>
                  </a:cubicBezTo>
                  <a:cubicBezTo>
                    <a:pt x="128" y="73"/>
                    <a:pt x="126" y="78"/>
                    <a:pt x="123" y="81"/>
                  </a:cubicBezTo>
                  <a:cubicBezTo>
                    <a:pt x="120" y="85"/>
                    <a:pt x="117" y="89"/>
                    <a:pt x="113" y="92"/>
                  </a:cubicBezTo>
                  <a:cubicBezTo>
                    <a:pt x="110" y="94"/>
                    <a:pt x="105" y="97"/>
                    <a:pt x="100" y="99"/>
                  </a:cubicBezTo>
                  <a:cubicBezTo>
                    <a:pt x="131" y="162"/>
                    <a:pt x="131" y="162"/>
                    <a:pt x="131" y="162"/>
                  </a:cubicBezTo>
                  <a:lnTo>
                    <a:pt x="94" y="162"/>
                  </a:lnTo>
                  <a:close/>
                  <a:moveTo>
                    <a:pt x="98" y="52"/>
                  </a:moveTo>
                  <a:cubicBezTo>
                    <a:pt x="98" y="48"/>
                    <a:pt x="97" y="45"/>
                    <a:pt x="96" y="42"/>
                  </a:cubicBezTo>
                  <a:cubicBezTo>
                    <a:pt x="95" y="39"/>
                    <a:pt x="93" y="37"/>
                    <a:pt x="91" y="36"/>
                  </a:cubicBezTo>
                  <a:cubicBezTo>
                    <a:pt x="89" y="34"/>
                    <a:pt x="86" y="33"/>
                    <a:pt x="84" y="32"/>
                  </a:cubicBezTo>
                  <a:cubicBezTo>
                    <a:pt x="81" y="32"/>
                    <a:pt x="78" y="31"/>
                    <a:pt x="75" y="31"/>
                  </a:cubicBezTo>
                  <a:cubicBezTo>
                    <a:pt x="32" y="31"/>
                    <a:pt x="32" y="31"/>
                    <a:pt x="32" y="31"/>
                  </a:cubicBezTo>
                  <a:cubicBezTo>
                    <a:pt x="32" y="73"/>
                    <a:pt x="32" y="73"/>
                    <a:pt x="32" y="73"/>
                  </a:cubicBezTo>
                  <a:cubicBezTo>
                    <a:pt x="75" y="73"/>
                    <a:pt x="75" y="73"/>
                    <a:pt x="75" y="73"/>
                  </a:cubicBezTo>
                  <a:cubicBezTo>
                    <a:pt x="79" y="73"/>
                    <a:pt x="82" y="72"/>
                    <a:pt x="85" y="72"/>
                  </a:cubicBezTo>
                  <a:cubicBezTo>
                    <a:pt x="88" y="71"/>
                    <a:pt x="90" y="69"/>
                    <a:pt x="92" y="67"/>
                  </a:cubicBezTo>
                  <a:cubicBezTo>
                    <a:pt x="94" y="66"/>
                    <a:pt x="95" y="64"/>
                    <a:pt x="96" y="61"/>
                  </a:cubicBezTo>
                  <a:cubicBezTo>
                    <a:pt x="97" y="58"/>
                    <a:pt x="98" y="55"/>
                    <a:pt x="98" y="5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11" name="Freeform 35">
              <a:extLst>
                <a:ext uri="{FF2B5EF4-FFF2-40B4-BE49-F238E27FC236}">
                  <a16:creationId xmlns:a16="http://schemas.microsoft.com/office/drawing/2014/main" id="{B3BCF9E1-0026-4389-B268-FEF82FAE2561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1669468" y="970279"/>
              <a:ext cx="79757" cy="111137"/>
            </a:xfrm>
            <a:custGeom>
              <a:avLst/>
              <a:gdLst>
                <a:gd name="T0" fmla="*/ 61 w 61"/>
                <a:gd name="T1" fmla="*/ 85 h 85"/>
                <a:gd name="T2" fmla="*/ 0 w 61"/>
                <a:gd name="T3" fmla="*/ 85 h 85"/>
                <a:gd name="T4" fmla="*/ 0 w 61"/>
                <a:gd name="T5" fmla="*/ 0 h 85"/>
                <a:gd name="T6" fmla="*/ 59 w 61"/>
                <a:gd name="T7" fmla="*/ 0 h 85"/>
                <a:gd name="T8" fmla="*/ 59 w 61"/>
                <a:gd name="T9" fmla="*/ 16 h 85"/>
                <a:gd name="T10" fmla="*/ 18 w 61"/>
                <a:gd name="T11" fmla="*/ 16 h 85"/>
                <a:gd name="T12" fmla="*/ 18 w 61"/>
                <a:gd name="T13" fmla="*/ 31 h 85"/>
                <a:gd name="T14" fmla="*/ 52 w 61"/>
                <a:gd name="T15" fmla="*/ 31 h 85"/>
                <a:gd name="T16" fmla="*/ 52 w 61"/>
                <a:gd name="T17" fmla="*/ 48 h 85"/>
                <a:gd name="T18" fmla="*/ 18 w 61"/>
                <a:gd name="T19" fmla="*/ 48 h 85"/>
                <a:gd name="T20" fmla="*/ 18 w 61"/>
                <a:gd name="T21" fmla="*/ 68 h 85"/>
                <a:gd name="T22" fmla="*/ 61 w 61"/>
                <a:gd name="T23" fmla="*/ 68 h 85"/>
                <a:gd name="T24" fmla="*/ 61 w 61"/>
                <a:gd name="T25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1" h="85">
                  <a:moveTo>
                    <a:pt x="61" y="85"/>
                  </a:moveTo>
                  <a:lnTo>
                    <a:pt x="0" y="85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6"/>
                  </a:lnTo>
                  <a:lnTo>
                    <a:pt x="18" y="16"/>
                  </a:lnTo>
                  <a:lnTo>
                    <a:pt x="18" y="31"/>
                  </a:lnTo>
                  <a:lnTo>
                    <a:pt x="52" y="31"/>
                  </a:lnTo>
                  <a:lnTo>
                    <a:pt x="52" y="48"/>
                  </a:lnTo>
                  <a:lnTo>
                    <a:pt x="18" y="48"/>
                  </a:lnTo>
                  <a:lnTo>
                    <a:pt x="18" y="68"/>
                  </a:lnTo>
                  <a:lnTo>
                    <a:pt x="61" y="68"/>
                  </a:lnTo>
                  <a:lnTo>
                    <a:pt x="61" y="8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12" name="Freeform 36">
              <a:extLst>
                <a:ext uri="{FF2B5EF4-FFF2-40B4-BE49-F238E27FC236}">
                  <a16:creationId xmlns:a16="http://schemas.microsoft.com/office/drawing/2014/main" id="{649F954E-57A5-4CCA-9CAB-F232FEBD5F36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9731769" y="1013426"/>
              <a:ext cx="261498" cy="366097"/>
            </a:xfrm>
            <a:custGeom>
              <a:avLst/>
              <a:gdLst>
                <a:gd name="T0" fmla="*/ 200 w 200"/>
                <a:gd name="T1" fmla="*/ 280 h 280"/>
                <a:gd name="T2" fmla="*/ 0 w 200"/>
                <a:gd name="T3" fmla="*/ 280 h 280"/>
                <a:gd name="T4" fmla="*/ 0 w 200"/>
                <a:gd name="T5" fmla="*/ 0 h 280"/>
                <a:gd name="T6" fmla="*/ 181 w 200"/>
                <a:gd name="T7" fmla="*/ 0 h 280"/>
                <a:gd name="T8" fmla="*/ 181 w 200"/>
                <a:gd name="T9" fmla="*/ 55 h 280"/>
                <a:gd name="T10" fmla="*/ 55 w 200"/>
                <a:gd name="T11" fmla="*/ 55 h 280"/>
                <a:gd name="T12" fmla="*/ 55 w 200"/>
                <a:gd name="T13" fmla="*/ 103 h 280"/>
                <a:gd name="T14" fmla="*/ 168 w 200"/>
                <a:gd name="T15" fmla="*/ 103 h 280"/>
                <a:gd name="T16" fmla="*/ 168 w 200"/>
                <a:gd name="T17" fmla="*/ 157 h 280"/>
                <a:gd name="T18" fmla="*/ 55 w 200"/>
                <a:gd name="T19" fmla="*/ 157 h 280"/>
                <a:gd name="T20" fmla="*/ 55 w 200"/>
                <a:gd name="T21" fmla="*/ 225 h 280"/>
                <a:gd name="T22" fmla="*/ 200 w 200"/>
                <a:gd name="T23" fmla="*/ 225 h 280"/>
                <a:gd name="T24" fmla="*/ 200 w 200"/>
                <a:gd name="T25" fmla="*/ 280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0" h="280">
                  <a:moveTo>
                    <a:pt x="200" y="280"/>
                  </a:moveTo>
                  <a:lnTo>
                    <a:pt x="0" y="280"/>
                  </a:lnTo>
                  <a:lnTo>
                    <a:pt x="0" y="0"/>
                  </a:lnTo>
                  <a:lnTo>
                    <a:pt x="181" y="0"/>
                  </a:lnTo>
                  <a:lnTo>
                    <a:pt x="181" y="55"/>
                  </a:lnTo>
                  <a:lnTo>
                    <a:pt x="55" y="55"/>
                  </a:lnTo>
                  <a:lnTo>
                    <a:pt x="55" y="103"/>
                  </a:lnTo>
                  <a:lnTo>
                    <a:pt x="168" y="103"/>
                  </a:lnTo>
                  <a:lnTo>
                    <a:pt x="168" y="157"/>
                  </a:lnTo>
                  <a:lnTo>
                    <a:pt x="55" y="157"/>
                  </a:lnTo>
                  <a:lnTo>
                    <a:pt x="55" y="225"/>
                  </a:lnTo>
                  <a:lnTo>
                    <a:pt x="200" y="225"/>
                  </a:lnTo>
                  <a:lnTo>
                    <a:pt x="200" y="28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13" name="Freeform 37">
              <a:extLst>
                <a:ext uri="{FF2B5EF4-FFF2-40B4-BE49-F238E27FC236}">
                  <a16:creationId xmlns:a16="http://schemas.microsoft.com/office/drawing/2014/main" id="{6DE56CC7-4BD4-440A-97FD-A8FAEC415494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9981497" y="1013426"/>
              <a:ext cx="334717" cy="366097"/>
            </a:xfrm>
            <a:custGeom>
              <a:avLst/>
              <a:gdLst>
                <a:gd name="T0" fmla="*/ 256 w 256"/>
                <a:gd name="T1" fmla="*/ 0 h 280"/>
                <a:gd name="T2" fmla="*/ 156 w 256"/>
                <a:gd name="T3" fmla="*/ 157 h 280"/>
                <a:gd name="T4" fmla="*/ 156 w 256"/>
                <a:gd name="T5" fmla="*/ 280 h 280"/>
                <a:gd name="T6" fmla="*/ 100 w 256"/>
                <a:gd name="T7" fmla="*/ 280 h 280"/>
                <a:gd name="T8" fmla="*/ 100 w 256"/>
                <a:gd name="T9" fmla="*/ 159 h 280"/>
                <a:gd name="T10" fmla="*/ 0 w 256"/>
                <a:gd name="T11" fmla="*/ 0 h 280"/>
                <a:gd name="T12" fmla="*/ 64 w 256"/>
                <a:gd name="T13" fmla="*/ 0 h 280"/>
                <a:gd name="T14" fmla="*/ 128 w 256"/>
                <a:gd name="T15" fmla="*/ 106 h 280"/>
                <a:gd name="T16" fmla="*/ 192 w 256"/>
                <a:gd name="T17" fmla="*/ 0 h 280"/>
                <a:gd name="T18" fmla="*/ 256 w 256"/>
                <a:gd name="T19" fmla="*/ 0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6" h="280">
                  <a:moveTo>
                    <a:pt x="256" y="0"/>
                  </a:moveTo>
                  <a:lnTo>
                    <a:pt x="156" y="157"/>
                  </a:lnTo>
                  <a:lnTo>
                    <a:pt x="156" y="280"/>
                  </a:lnTo>
                  <a:lnTo>
                    <a:pt x="100" y="280"/>
                  </a:lnTo>
                  <a:lnTo>
                    <a:pt x="100" y="159"/>
                  </a:lnTo>
                  <a:lnTo>
                    <a:pt x="0" y="0"/>
                  </a:lnTo>
                  <a:lnTo>
                    <a:pt x="64" y="0"/>
                  </a:lnTo>
                  <a:lnTo>
                    <a:pt x="128" y="106"/>
                  </a:lnTo>
                  <a:lnTo>
                    <a:pt x="192" y="0"/>
                  </a:lnTo>
                  <a:lnTo>
                    <a:pt x="256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14" name="Freeform 38">
              <a:extLst>
                <a:ext uri="{FF2B5EF4-FFF2-40B4-BE49-F238E27FC236}">
                  <a16:creationId xmlns:a16="http://schemas.microsoft.com/office/drawing/2014/main" id="{658A3BBD-2F70-448C-911B-74A58B3D4525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10199846" y="638177"/>
              <a:ext cx="1435622" cy="1039454"/>
            </a:xfrm>
            <a:custGeom>
              <a:avLst/>
              <a:gdLst>
                <a:gd name="T0" fmla="*/ 0 w 2104"/>
                <a:gd name="T1" fmla="*/ 293 h 1521"/>
                <a:gd name="T2" fmla="*/ 243 w 2104"/>
                <a:gd name="T3" fmla="*/ 139 h 1521"/>
                <a:gd name="T4" fmla="*/ 243 w 2104"/>
                <a:gd name="T5" fmla="*/ 191 h 1521"/>
                <a:gd name="T6" fmla="*/ 176 w 2104"/>
                <a:gd name="T7" fmla="*/ 1056 h 1521"/>
                <a:gd name="T8" fmla="*/ 279 w 2104"/>
                <a:gd name="T9" fmla="*/ 25 h 1521"/>
                <a:gd name="T10" fmla="*/ 1557 w 2104"/>
                <a:gd name="T11" fmla="*/ 1144 h 1521"/>
                <a:gd name="T12" fmla="*/ 1557 w 2104"/>
                <a:gd name="T13" fmla="*/ 1108 h 1521"/>
                <a:gd name="T14" fmla="*/ 1557 w 2104"/>
                <a:gd name="T15" fmla="*/ 1072 h 1521"/>
                <a:gd name="T16" fmla="*/ 1557 w 2104"/>
                <a:gd name="T17" fmla="*/ 1035 h 1521"/>
                <a:gd name="T18" fmla="*/ 1557 w 2104"/>
                <a:gd name="T19" fmla="*/ 1000 h 1521"/>
                <a:gd name="T20" fmla="*/ 1186 w 2104"/>
                <a:gd name="T21" fmla="*/ 465 h 1521"/>
                <a:gd name="T22" fmla="*/ 1915 w 2104"/>
                <a:gd name="T23" fmla="*/ 372 h 1521"/>
                <a:gd name="T24" fmla="*/ 1099 w 2104"/>
                <a:gd name="T25" fmla="*/ 499 h 1521"/>
                <a:gd name="T26" fmla="*/ 1977 w 2104"/>
                <a:gd name="T27" fmla="*/ 426 h 1521"/>
                <a:gd name="T28" fmla="*/ 1089 w 2104"/>
                <a:gd name="T29" fmla="*/ 421 h 1521"/>
                <a:gd name="T30" fmla="*/ 1565 w 2104"/>
                <a:gd name="T31" fmla="*/ 60 h 1521"/>
                <a:gd name="T32" fmla="*/ 1565 w 2104"/>
                <a:gd name="T33" fmla="*/ 24 h 1521"/>
                <a:gd name="T34" fmla="*/ 556 w 2104"/>
                <a:gd name="T35" fmla="*/ 485 h 1521"/>
                <a:gd name="T36" fmla="*/ 468 w 2104"/>
                <a:gd name="T37" fmla="*/ 41 h 1521"/>
                <a:gd name="T38" fmla="*/ 388 w 2104"/>
                <a:gd name="T39" fmla="*/ 106 h 1521"/>
                <a:gd name="T40" fmla="*/ 351 w 2104"/>
                <a:gd name="T41" fmla="*/ 760 h 1521"/>
                <a:gd name="T42" fmla="*/ 316 w 2104"/>
                <a:gd name="T43" fmla="*/ 70 h 1521"/>
                <a:gd name="T44" fmla="*/ 434 w 2104"/>
                <a:gd name="T45" fmla="*/ 1086 h 1521"/>
                <a:gd name="T46" fmla="*/ 885 w 2104"/>
                <a:gd name="T47" fmla="*/ 487 h 1521"/>
                <a:gd name="T48" fmla="*/ 885 w 2104"/>
                <a:gd name="T49" fmla="*/ 523 h 1521"/>
                <a:gd name="T50" fmla="*/ 568 w 2104"/>
                <a:gd name="T51" fmla="*/ 1056 h 1521"/>
                <a:gd name="T52" fmla="*/ 885 w 2104"/>
                <a:gd name="T53" fmla="*/ 559 h 1521"/>
                <a:gd name="T54" fmla="*/ 1089 w 2104"/>
                <a:gd name="T55" fmla="*/ 534 h 1521"/>
                <a:gd name="T56" fmla="*/ 1299 w 2104"/>
                <a:gd name="T57" fmla="*/ 996 h 1521"/>
                <a:gd name="T58" fmla="*/ 672 w 2104"/>
                <a:gd name="T59" fmla="*/ 1250 h 1521"/>
                <a:gd name="T60" fmla="*/ 894 w 2104"/>
                <a:gd name="T61" fmla="*/ 1377 h 1521"/>
                <a:gd name="T62" fmla="*/ 895 w 2104"/>
                <a:gd name="T63" fmla="*/ 1413 h 1521"/>
                <a:gd name="T64" fmla="*/ 619 w 2104"/>
                <a:gd name="T65" fmla="*/ 1361 h 1521"/>
                <a:gd name="T66" fmla="*/ 1382 w 2104"/>
                <a:gd name="T67" fmla="*/ 1152 h 1521"/>
                <a:gd name="T68" fmla="*/ 509 w 2104"/>
                <a:gd name="T69" fmla="*/ 1325 h 1521"/>
                <a:gd name="T70" fmla="*/ 1416 w 2104"/>
                <a:gd name="T71" fmla="*/ 1162 h 1521"/>
                <a:gd name="T72" fmla="*/ 2062 w 2104"/>
                <a:gd name="T73" fmla="*/ 711 h 1521"/>
                <a:gd name="T74" fmla="*/ 386 w 2104"/>
                <a:gd name="T75" fmla="*/ 950 h 1521"/>
                <a:gd name="T76" fmla="*/ 351 w 2104"/>
                <a:gd name="T77" fmla="*/ 968 h 1521"/>
                <a:gd name="T78" fmla="*/ 885 w 2104"/>
                <a:gd name="T79" fmla="*/ 415 h 1521"/>
                <a:gd name="T80" fmla="*/ 1162 w 2104"/>
                <a:gd name="T81" fmla="*/ 535 h 1521"/>
                <a:gd name="T82" fmla="*/ 1420 w 2104"/>
                <a:gd name="T83" fmla="*/ 978 h 1521"/>
                <a:gd name="T84" fmla="*/ 1162 w 2104"/>
                <a:gd name="T85" fmla="*/ 535 h 1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104" h="1521">
                  <a:moveTo>
                    <a:pt x="268" y="12"/>
                  </a:moveTo>
                  <a:cubicBezTo>
                    <a:pt x="259" y="12"/>
                    <a:pt x="252" y="20"/>
                    <a:pt x="246" y="26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4" y="303"/>
                    <a:pt x="25" y="320"/>
                    <a:pt x="51" y="291"/>
                  </a:cubicBezTo>
                  <a:cubicBezTo>
                    <a:pt x="66" y="276"/>
                    <a:pt x="243" y="80"/>
                    <a:pt x="243" y="80"/>
                  </a:cubicBezTo>
                  <a:cubicBezTo>
                    <a:pt x="243" y="139"/>
                    <a:pt x="243" y="139"/>
                    <a:pt x="243" y="139"/>
                  </a:cubicBezTo>
                  <a:cubicBezTo>
                    <a:pt x="227" y="157"/>
                    <a:pt x="76" y="322"/>
                    <a:pt x="60" y="338"/>
                  </a:cubicBezTo>
                  <a:cubicBezTo>
                    <a:pt x="38" y="360"/>
                    <a:pt x="46" y="383"/>
                    <a:pt x="59" y="392"/>
                  </a:cubicBezTo>
                  <a:cubicBezTo>
                    <a:pt x="243" y="191"/>
                    <a:pt x="243" y="191"/>
                    <a:pt x="243" y="191"/>
                  </a:cubicBezTo>
                  <a:cubicBezTo>
                    <a:pt x="243" y="983"/>
                    <a:pt x="243" y="983"/>
                    <a:pt x="243" y="983"/>
                  </a:cubicBezTo>
                  <a:cubicBezTo>
                    <a:pt x="243" y="1029"/>
                    <a:pt x="228" y="1059"/>
                    <a:pt x="200" y="1059"/>
                  </a:cubicBezTo>
                  <a:cubicBezTo>
                    <a:pt x="187" y="1059"/>
                    <a:pt x="181" y="1057"/>
                    <a:pt x="176" y="1056"/>
                  </a:cubicBezTo>
                  <a:cubicBezTo>
                    <a:pt x="170" y="1070"/>
                    <a:pt x="180" y="1090"/>
                    <a:pt x="208" y="1090"/>
                  </a:cubicBezTo>
                  <a:cubicBezTo>
                    <a:pt x="268" y="1090"/>
                    <a:pt x="279" y="1027"/>
                    <a:pt x="279" y="983"/>
                  </a:cubicBezTo>
                  <a:cubicBezTo>
                    <a:pt x="279" y="25"/>
                    <a:pt x="279" y="25"/>
                    <a:pt x="279" y="25"/>
                  </a:cubicBezTo>
                  <a:cubicBezTo>
                    <a:pt x="279" y="18"/>
                    <a:pt x="275" y="12"/>
                    <a:pt x="268" y="12"/>
                  </a:cubicBezTo>
                  <a:close/>
                  <a:moveTo>
                    <a:pt x="2062" y="711"/>
                  </a:moveTo>
                  <a:cubicBezTo>
                    <a:pt x="2072" y="820"/>
                    <a:pt x="1941" y="1144"/>
                    <a:pt x="1557" y="1144"/>
                  </a:cubicBezTo>
                  <a:cubicBezTo>
                    <a:pt x="1472" y="1144"/>
                    <a:pt x="1403" y="1124"/>
                    <a:pt x="1361" y="1105"/>
                  </a:cubicBezTo>
                  <a:cubicBezTo>
                    <a:pt x="1364" y="1094"/>
                    <a:pt x="1367" y="1083"/>
                    <a:pt x="1370" y="1072"/>
                  </a:cubicBezTo>
                  <a:cubicBezTo>
                    <a:pt x="1423" y="1094"/>
                    <a:pt x="1482" y="1108"/>
                    <a:pt x="1557" y="1108"/>
                  </a:cubicBezTo>
                  <a:cubicBezTo>
                    <a:pt x="1871" y="1108"/>
                    <a:pt x="1988" y="879"/>
                    <a:pt x="2010" y="795"/>
                  </a:cubicBezTo>
                  <a:cubicBezTo>
                    <a:pt x="2025" y="742"/>
                    <a:pt x="2018" y="711"/>
                    <a:pt x="1981" y="711"/>
                  </a:cubicBezTo>
                  <a:cubicBezTo>
                    <a:pt x="1994" y="785"/>
                    <a:pt x="1899" y="1072"/>
                    <a:pt x="1557" y="1072"/>
                  </a:cubicBezTo>
                  <a:cubicBezTo>
                    <a:pt x="1490" y="1072"/>
                    <a:pt x="1431" y="1059"/>
                    <a:pt x="1377" y="1037"/>
                  </a:cubicBezTo>
                  <a:cubicBezTo>
                    <a:pt x="1379" y="1026"/>
                    <a:pt x="1380" y="1014"/>
                    <a:pt x="1382" y="1003"/>
                  </a:cubicBezTo>
                  <a:cubicBezTo>
                    <a:pt x="1420" y="1018"/>
                    <a:pt x="1479" y="1035"/>
                    <a:pt x="1557" y="1035"/>
                  </a:cubicBezTo>
                  <a:cubicBezTo>
                    <a:pt x="1794" y="1035"/>
                    <a:pt x="1908" y="877"/>
                    <a:pt x="1932" y="781"/>
                  </a:cubicBezTo>
                  <a:cubicBezTo>
                    <a:pt x="1943" y="739"/>
                    <a:pt x="1936" y="711"/>
                    <a:pt x="1902" y="711"/>
                  </a:cubicBezTo>
                  <a:cubicBezTo>
                    <a:pt x="1910" y="784"/>
                    <a:pt x="1826" y="1000"/>
                    <a:pt x="1557" y="1000"/>
                  </a:cubicBezTo>
                  <a:cubicBezTo>
                    <a:pt x="1519" y="1000"/>
                    <a:pt x="1484" y="995"/>
                    <a:pt x="1455" y="988"/>
                  </a:cubicBezTo>
                  <a:cubicBezTo>
                    <a:pt x="1456" y="975"/>
                    <a:pt x="1456" y="960"/>
                    <a:pt x="1456" y="950"/>
                  </a:cubicBezTo>
                  <a:cubicBezTo>
                    <a:pt x="1456" y="749"/>
                    <a:pt x="1351" y="567"/>
                    <a:pt x="1186" y="465"/>
                  </a:cubicBezTo>
                  <a:cubicBezTo>
                    <a:pt x="1249" y="318"/>
                    <a:pt x="1390" y="204"/>
                    <a:pt x="1565" y="204"/>
                  </a:cubicBezTo>
                  <a:cubicBezTo>
                    <a:pt x="1787" y="204"/>
                    <a:pt x="1886" y="374"/>
                    <a:pt x="1896" y="426"/>
                  </a:cubicBezTo>
                  <a:cubicBezTo>
                    <a:pt x="1919" y="426"/>
                    <a:pt x="1925" y="395"/>
                    <a:pt x="1915" y="372"/>
                  </a:cubicBezTo>
                  <a:cubicBezTo>
                    <a:pt x="1892" y="314"/>
                    <a:pt x="1782" y="169"/>
                    <a:pt x="1565" y="169"/>
                  </a:cubicBezTo>
                  <a:cubicBezTo>
                    <a:pt x="1348" y="169"/>
                    <a:pt x="1187" y="321"/>
                    <a:pt x="1131" y="516"/>
                  </a:cubicBezTo>
                  <a:cubicBezTo>
                    <a:pt x="1121" y="510"/>
                    <a:pt x="1110" y="504"/>
                    <a:pt x="1099" y="499"/>
                  </a:cubicBezTo>
                  <a:cubicBezTo>
                    <a:pt x="1107" y="476"/>
                    <a:pt x="1114" y="453"/>
                    <a:pt x="1122" y="434"/>
                  </a:cubicBezTo>
                  <a:cubicBezTo>
                    <a:pt x="1192" y="257"/>
                    <a:pt x="1361" y="132"/>
                    <a:pt x="1565" y="132"/>
                  </a:cubicBezTo>
                  <a:cubicBezTo>
                    <a:pt x="1836" y="132"/>
                    <a:pt x="1966" y="343"/>
                    <a:pt x="1977" y="426"/>
                  </a:cubicBezTo>
                  <a:cubicBezTo>
                    <a:pt x="1997" y="426"/>
                    <a:pt x="2012" y="403"/>
                    <a:pt x="2003" y="378"/>
                  </a:cubicBezTo>
                  <a:cubicBezTo>
                    <a:pt x="1975" y="301"/>
                    <a:pt x="1856" y="96"/>
                    <a:pt x="1565" y="96"/>
                  </a:cubicBezTo>
                  <a:cubicBezTo>
                    <a:pt x="1346" y="96"/>
                    <a:pt x="1164" y="231"/>
                    <a:pt x="1089" y="421"/>
                  </a:cubicBezTo>
                  <a:cubicBezTo>
                    <a:pt x="1082" y="437"/>
                    <a:pt x="1074" y="460"/>
                    <a:pt x="1066" y="485"/>
                  </a:cubicBezTo>
                  <a:cubicBezTo>
                    <a:pt x="1056" y="481"/>
                    <a:pt x="1046" y="477"/>
                    <a:pt x="1036" y="474"/>
                  </a:cubicBezTo>
                  <a:cubicBezTo>
                    <a:pt x="1086" y="263"/>
                    <a:pt x="1283" y="60"/>
                    <a:pt x="1565" y="60"/>
                  </a:cubicBezTo>
                  <a:cubicBezTo>
                    <a:pt x="1936" y="60"/>
                    <a:pt x="2057" y="372"/>
                    <a:pt x="2058" y="426"/>
                  </a:cubicBezTo>
                  <a:cubicBezTo>
                    <a:pt x="2084" y="426"/>
                    <a:pt x="2093" y="398"/>
                    <a:pt x="2085" y="372"/>
                  </a:cubicBezTo>
                  <a:cubicBezTo>
                    <a:pt x="2058" y="289"/>
                    <a:pt x="1922" y="24"/>
                    <a:pt x="1565" y="24"/>
                  </a:cubicBezTo>
                  <a:cubicBezTo>
                    <a:pt x="1298" y="24"/>
                    <a:pt x="1105" y="187"/>
                    <a:pt x="1024" y="396"/>
                  </a:cubicBezTo>
                  <a:cubicBezTo>
                    <a:pt x="979" y="385"/>
                    <a:pt x="932" y="379"/>
                    <a:pt x="885" y="379"/>
                  </a:cubicBezTo>
                  <a:cubicBezTo>
                    <a:pt x="766" y="379"/>
                    <a:pt x="653" y="416"/>
                    <a:pt x="556" y="485"/>
                  </a:cubicBezTo>
                  <a:cubicBezTo>
                    <a:pt x="505" y="522"/>
                    <a:pt x="460" y="566"/>
                    <a:pt x="424" y="616"/>
                  </a:cubicBezTo>
                  <a:cubicBezTo>
                    <a:pt x="424" y="106"/>
                    <a:pt x="424" y="106"/>
                    <a:pt x="424" y="106"/>
                  </a:cubicBezTo>
                  <a:cubicBezTo>
                    <a:pt x="424" y="60"/>
                    <a:pt x="439" y="41"/>
                    <a:pt x="468" y="41"/>
                  </a:cubicBezTo>
                  <a:cubicBezTo>
                    <a:pt x="480" y="41"/>
                    <a:pt x="486" y="43"/>
                    <a:pt x="491" y="44"/>
                  </a:cubicBezTo>
                  <a:cubicBezTo>
                    <a:pt x="497" y="30"/>
                    <a:pt x="487" y="10"/>
                    <a:pt x="459" y="10"/>
                  </a:cubicBezTo>
                  <a:cubicBezTo>
                    <a:pt x="399" y="10"/>
                    <a:pt x="388" y="62"/>
                    <a:pt x="388" y="106"/>
                  </a:cubicBezTo>
                  <a:cubicBezTo>
                    <a:pt x="388" y="106"/>
                    <a:pt x="388" y="518"/>
                    <a:pt x="388" y="672"/>
                  </a:cubicBezTo>
                  <a:cubicBezTo>
                    <a:pt x="388" y="673"/>
                    <a:pt x="387" y="674"/>
                    <a:pt x="387" y="675"/>
                  </a:cubicBezTo>
                  <a:cubicBezTo>
                    <a:pt x="377" y="692"/>
                    <a:pt x="362" y="729"/>
                    <a:pt x="351" y="760"/>
                  </a:cubicBezTo>
                  <a:cubicBezTo>
                    <a:pt x="351" y="84"/>
                    <a:pt x="351" y="84"/>
                    <a:pt x="351" y="84"/>
                  </a:cubicBezTo>
                  <a:cubicBezTo>
                    <a:pt x="351" y="41"/>
                    <a:pt x="361" y="26"/>
                    <a:pt x="369" y="19"/>
                  </a:cubicBezTo>
                  <a:cubicBezTo>
                    <a:pt x="365" y="5"/>
                    <a:pt x="316" y="0"/>
                    <a:pt x="316" y="70"/>
                  </a:cubicBezTo>
                  <a:cubicBezTo>
                    <a:pt x="316" y="103"/>
                    <a:pt x="316" y="984"/>
                    <a:pt x="316" y="984"/>
                  </a:cubicBezTo>
                  <a:cubicBezTo>
                    <a:pt x="316" y="1060"/>
                    <a:pt x="351" y="1091"/>
                    <a:pt x="389" y="1091"/>
                  </a:cubicBezTo>
                  <a:cubicBezTo>
                    <a:pt x="405" y="1091"/>
                    <a:pt x="422" y="1088"/>
                    <a:pt x="434" y="1086"/>
                  </a:cubicBezTo>
                  <a:cubicBezTo>
                    <a:pt x="440" y="1084"/>
                    <a:pt x="444" y="1077"/>
                    <a:pt x="442" y="1071"/>
                  </a:cubicBezTo>
                  <a:cubicBezTo>
                    <a:pt x="430" y="1040"/>
                    <a:pt x="422" y="998"/>
                    <a:pt x="422" y="950"/>
                  </a:cubicBezTo>
                  <a:cubicBezTo>
                    <a:pt x="422" y="694"/>
                    <a:pt x="630" y="487"/>
                    <a:pt x="885" y="487"/>
                  </a:cubicBezTo>
                  <a:cubicBezTo>
                    <a:pt x="946" y="487"/>
                    <a:pt x="1003" y="498"/>
                    <a:pt x="1057" y="519"/>
                  </a:cubicBezTo>
                  <a:cubicBezTo>
                    <a:pt x="1053" y="530"/>
                    <a:pt x="1051" y="542"/>
                    <a:pt x="1048" y="553"/>
                  </a:cubicBezTo>
                  <a:cubicBezTo>
                    <a:pt x="1008" y="537"/>
                    <a:pt x="955" y="523"/>
                    <a:pt x="885" y="523"/>
                  </a:cubicBezTo>
                  <a:cubicBezTo>
                    <a:pt x="650" y="523"/>
                    <a:pt x="458" y="715"/>
                    <a:pt x="458" y="950"/>
                  </a:cubicBezTo>
                  <a:cubicBezTo>
                    <a:pt x="458" y="1011"/>
                    <a:pt x="475" y="1090"/>
                    <a:pt x="535" y="1090"/>
                  </a:cubicBezTo>
                  <a:cubicBezTo>
                    <a:pt x="564" y="1090"/>
                    <a:pt x="574" y="1070"/>
                    <a:pt x="568" y="1056"/>
                  </a:cubicBezTo>
                  <a:cubicBezTo>
                    <a:pt x="562" y="1057"/>
                    <a:pt x="556" y="1059"/>
                    <a:pt x="544" y="1059"/>
                  </a:cubicBezTo>
                  <a:cubicBezTo>
                    <a:pt x="516" y="1059"/>
                    <a:pt x="494" y="1021"/>
                    <a:pt x="494" y="950"/>
                  </a:cubicBezTo>
                  <a:cubicBezTo>
                    <a:pt x="494" y="734"/>
                    <a:pt x="669" y="559"/>
                    <a:pt x="885" y="559"/>
                  </a:cubicBezTo>
                  <a:cubicBezTo>
                    <a:pt x="959" y="559"/>
                    <a:pt x="1016" y="577"/>
                    <a:pt x="1056" y="597"/>
                  </a:cubicBezTo>
                  <a:cubicBezTo>
                    <a:pt x="1065" y="601"/>
                    <a:pt x="1075" y="595"/>
                    <a:pt x="1077" y="585"/>
                  </a:cubicBezTo>
                  <a:cubicBezTo>
                    <a:pt x="1079" y="571"/>
                    <a:pt x="1084" y="553"/>
                    <a:pt x="1089" y="534"/>
                  </a:cubicBezTo>
                  <a:cubicBezTo>
                    <a:pt x="1243" y="609"/>
                    <a:pt x="1349" y="768"/>
                    <a:pt x="1349" y="950"/>
                  </a:cubicBezTo>
                  <a:cubicBezTo>
                    <a:pt x="1349" y="974"/>
                    <a:pt x="1347" y="998"/>
                    <a:pt x="1343" y="1021"/>
                  </a:cubicBezTo>
                  <a:cubicBezTo>
                    <a:pt x="1328" y="1014"/>
                    <a:pt x="1314" y="1005"/>
                    <a:pt x="1299" y="996"/>
                  </a:cubicBezTo>
                  <a:cubicBezTo>
                    <a:pt x="1283" y="987"/>
                    <a:pt x="1274" y="994"/>
                    <a:pt x="1272" y="1009"/>
                  </a:cubicBezTo>
                  <a:cubicBezTo>
                    <a:pt x="1244" y="1200"/>
                    <a:pt x="1086" y="1341"/>
                    <a:pt x="894" y="1341"/>
                  </a:cubicBezTo>
                  <a:cubicBezTo>
                    <a:pt x="763" y="1341"/>
                    <a:pt x="691" y="1290"/>
                    <a:pt x="672" y="1250"/>
                  </a:cubicBezTo>
                  <a:cubicBezTo>
                    <a:pt x="662" y="1253"/>
                    <a:pt x="654" y="1262"/>
                    <a:pt x="654" y="1276"/>
                  </a:cubicBezTo>
                  <a:cubicBezTo>
                    <a:pt x="654" y="1300"/>
                    <a:pt x="694" y="1327"/>
                    <a:pt x="721" y="1340"/>
                  </a:cubicBezTo>
                  <a:cubicBezTo>
                    <a:pt x="761" y="1360"/>
                    <a:pt x="815" y="1377"/>
                    <a:pt x="894" y="1377"/>
                  </a:cubicBezTo>
                  <a:cubicBezTo>
                    <a:pt x="1095" y="1377"/>
                    <a:pt x="1261" y="1235"/>
                    <a:pt x="1303" y="1040"/>
                  </a:cubicBezTo>
                  <a:cubicBezTo>
                    <a:pt x="1314" y="1046"/>
                    <a:pt x="1325" y="1052"/>
                    <a:pt x="1337" y="1058"/>
                  </a:cubicBezTo>
                  <a:cubicBezTo>
                    <a:pt x="1290" y="1261"/>
                    <a:pt x="1113" y="1413"/>
                    <a:pt x="895" y="1413"/>
                  </a:cubicBezTo>
                  <a:cubicBezTo>
                    <a:pt x="713" y="1413"/>
                    <a:pt x="621" y="1325"/>
                    <a:pt x="616" y="1296"/>
                  </a:cubicBezTo>
                  <a:cubicBezTo>
                    <a:pt x="602" y="1296"/>
                    <a:pt x="594" y="1307"/>
                    <a:pt x="594" y="1320"/>
                  </a:cubicBezTo>
                  <a:cubicBezTo>
                    <a:pt x="594" y="1335"/>
                    <a:pt x="606" y="1350"/>
                    <a:pt x="619" y="1361"/>
                  </a:cubicBezTo>
                  <a:cubicBezTo>
                    <a:pt x="653" y="1392"/>
                    <a:pt x="738" y="1449"/>
                    <a:pt x="895" y="1449"/>
                  </a:cubicBezTo>
                  <a:cubicBezTo>
                    <a:pt x="1103" y="1449"/>
                    <a:pt x="1277" y="1320"/>
                    <a:pt x="1349" y="1138"/>
                  </a:cubicBezTo>
                  <a:cubicBezTo>
                    <a:pt x="1359" y="1143"/>
                    <a:pt x="1371" y="1147"/>
                    <a:pt x="1382" y="1152"/>
                  </a:cubicBezTo>
                  <a:cubicBezTo>
                    <a:pt x="1304" y="1348"/>
                    <a:pt x="1116" y="1485"/>
                    <a:pt x="894" y="1485"/>
                  </a:cubicBezTo>
                  <a:cubicBezTo>
                    <a:pt x="688" y="1485"/>
                    <a:pt x="549" y="1379"/>
                    <a:pt x="534" y="1297"/>
                  </a:cubicBezTo>
                  <a:cubicBezTo>
                    <a:pt x="522" y="1297"/>
                    <a:pt x="509" y="1308"/>
                    <a:pt x="509" y="1325"/>
                  </a:cubicBezTo>
                  <a:cubicBezTo>
                    <a:pt x="509" y="1338"/>
                    <a:pt x="520" y="1357"/>
                    <a:pt x="523" y="1362"/>
                  </a:cubicBezTo>
                  <a:cubicBezTo>
                    <a:pt x="554" y="1410"/>
                    <a:pt x="665" y="1521"/>
                    <a:pt x="894" y="1521"/>
                  </a:cubicBezTo>
                  <a:cubicBezTo>
                    <a:pt x="1132" y="1521"/>
                    <a:pt x="1334" y="1373"/>
                    <a:pt x="1416" y="1162"/>
                  </a:cubicBezTo>
                  <a:cubicBezTo>
                    <a:pt x="1455" y="1173"/>
                    <a:pt x="1501" y="1179"/>
                    <a:pt x="1557" y="1179"/>
                  </a:cubicBezTo>
                  <a:cubicBezTo>
                    <a:pt x="1928" y="1179"/>
                    <a:pt x="2065" y="901"/>
                    <a:pt x="2089" y="800"/>
                  </a:cubicBezTo>
                  <a:cubicBezTo>
                    <a:pt x="2104" y="734"/>
                    <a:pt x="2096" y="711"/>
                    <a:pt x="2062" y="711"/>
                  </a:cubicBezTo>
                  <a:close/>
                  <a:moveTo>
                    <a:pt x="1002" y="465"/>
                  </a:moveTo>
                  <a:cubicBezTo>
                    <a:pt x="964" y="456"/>
                    <a:pt x="925" y="451"/>
                    <a:pt x="885" y="451"/>
                  </a:cubicBezTo>
                  <a:cubicBezTo>
                    <a:pt x="610" y="451"/>
                    <a:pt x="386" y="675"/>
                    <a:pt x="386" y="950"/>
                  </a:cubicBezTo>
                  <a:cubicBezTo>
                    <a:pt x="386" y="982"/>
                    <a:pt x="388" y="1021"/>
                    <a:pt x="400" y="1055"/>
                  </a:cubicBezTo>
                  <a:cubicBezTo>
                    <a:pt x="364" y="1065"/>
                    <a:pt x="351" y="1028"/>
                    <a:pt x="351" y="984"/>
                  </a:cubicBezTo>
                  <a:cubicBezTo>
                    <a:pt x="351" y="984"/>
                    <a:pt x="351" y="979"/>
                    <a:pt x="351" y="968"/>
                  </a:cubicBezTo>
                  <a:cubicBezTo>
                    <a:pt x="354" y="837"/>
                    <a:pt x="385" y="763"/>
                    <a:pt x="385" y="763"/>
                  </a:cubicBezTo>
                  <a:cubicBezTo>
                    <a:pt x="422" y="661"/>
                    <a:pt x="490" y="577"/>
                    <a:pt x="577" y="514"/>
                  </a:cubicBezTo>
                  <a:cubicBezTo>
                    <a:pt x="667" y="449"/>
                    <a:pt x="774" y="415"/>
                    <a:pt x="885" y="415"/>
                  </a:cubicBezTo>
                  <a:cubicBezTo>
                    <a:pt x="928" y="415"/>
                    <a:pt x="971" y="420"/>
                    <a:pt x="1012" y="430"/>
                  </a:cubicBezTo>
                  <a:cubicBezTo>
                    <a:pt x="1008" y="441"/>
                    <a:pt x="1005" y="453"/>
                    <a:pt x="1002" y="465"/>
                  </a:cubicBezTo>
                  <a:close/>
                  <a:moveTo>
                    <a:pt x="1162" y="535"/>
                  </a:moveTo>
                  <a:cubicBezTo>
                    <a:pt x="1166" y="523"/>
                    <a:pt x="1169" y="511"/>
                    <a:pt x="1173" y="499"/>
                  </a:cubicBezTo>
                  <a:cubicBezTo>
                    <a:pt x="1324" y="595"/>
                    <a:pt x="1421" y="764"/>
                    <a:pt x="1421" y="950"/>
                  </a:cubicBezTo>
                  <a:cubicBezTo>
                    <a:pt x="1421" y="959"/>
                    <a:pt x="1420" y="968"/>
                    <a:pt x="1420" y="978"/>
                  </a:cubicBezTo>
                  <a:cubicBezTo>
                    <a:pt x="1406" y="973"/>
                    <a:pt x="1394" y="969"/>
                    <a:pt x="1384" y="964"/>
                  </a:cubicBezTo>
                  <a:cubicBezTo>
                    <a:pt x="1384" y="960"/>
                    <a:pt x="1384" y="955"/>
                    <a:pt x="1384" y="950"/>
                  </a:cubicBezTo>
                  <a:cubicBezTo>
                    <a:pt x="1384" y="777"/>
                    <a:pt x="1296" y="625"/>
                    <a:pt x="1162" y="53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42945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" userDrawn="1">
          <p15:clr>
            <a:srgbClr val="FBAE40"/>
          </p15:clr>
        </p15:guide>
        <p15:guide id="2" orient="horz" pos="1350" userDrawn="1">
          <p15:clr>
            <a:srgbClr val="FBAE40"/>
          </p15:clr>
        </p15:guide>
        <p15:guide id="3" orient="horz" pos="201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7_Cover_with_author_Ne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622940" y="795662"/>
            <a:ext cx="4930412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900329" y="1954221"/>
            <a:ext cx="4328932" cy="979702"/>
          </a:xfrm>
        </p:spPr>
        <p:txBody>
          <a:bodyPr/>
          <a:lstStyle>
            <a:lvl1pPr>
              <a:defRPr sz="3000" b="0">
                <a:solidFill>
                  <a:schemeClr val="tx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00329" y="3046158"/>
            <a:ext cx="4328932" cy="104632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Aft>
                <a:spcPts val="1200"/>
              </a:spcAft>
              <a:buNone/>
              <a:defRPr sz="2000">
                <a:solidFill>
                  <a:schemeClr val="tx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 b="1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 userDrawn="1"/>
        </p:nvCxnSpPr>
        <p:spPr>
          <a:xfrm>
            <a:off x="1486584" y="5709060"/>
            <a:ext cx="8122101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 userDrawn="1"/>
        </p:nvSpPr>
        <p:spPr>
          <a:xfrm>
            <a:off x="615384" y="5605200"/>
            <a:ext cx="1045073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US" sz="1200" noProof="0" dirty="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86584" y="6019189"/>
            <a:ext cx="3089275" cy="1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Name Surname</a:t>
            </a:r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486584" y="6216807"/>
            <a:ext cx="3089275" cy="1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Job Title</a:t>
            </a:r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29A5E1BC-8F6B-43EF-9FF6-8242E7708BD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15383" y="5914642"/>
            <a:ext cx="576000" cy="5760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grpSp>
        <p:nvGrpSpPr>
          <p:cNvPr id="2" name="Group 4">
            <a:extLst>
              <a:ext uri="{FF2B5EF4-FFF2-40B4-BE49-F238E27FC236}">
                <a16:creationId xmlns:a16="http://schemas.microsoft.com/office/drawing/2014/main" id="{63F02F42-4916-4588-807F-4BB7367EB0EC}"/>
              </a:ext>
            </a:extLst>
          </p:cNvPr>
          <p:cNvGrpSpPr>
            <a:grpSpLocks noChangeAspect="1"/>
          </p:cNvGrpSpPr>
          <p:nvPr userDrawn="1"/>
        </p:nvGrpSpPr>
        <p:grpSpPr bwMode="invGray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0BD928C5-1C7D-4599-A7E9-8AB1B188C6AA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37C281E8-2924-471F-A849-26C37A059B4E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</p:grpSp>
      <p:grpSp>
        <p:nvGrpSpPr>
          <p:cNvPr id="15" name="Gruppieren 14"/>
          <p:cNvGrpSpPr/>
          <p:nvPr userDrawn="1"/>
        </p:nvGrpSpPr>
        <p:grpSpPr bwMode="invGray">
          <a:xfrm>
            <a:off x="9713775" y="440057"/>
            <a:ext cx="1868402" cy="962657"/>
            <a:chOff x="9731769" y="638177"/>
            <a:chExt cx="2017456" cy="1039454"/>
          </a:xfrm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8A9BDB58-231B-4B70-8059-20CAA94E9F64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9731769" y="1406980"/>
              <a:ext cx="19613" cy="91524"/>
            </a:xfrm>
            <a:custGeom>
              <a:avLst/>
              <a:gdLst>
                <a:gd name="T0" fmla="*/ 29 w 29"/>
                <a:gd name="T1" fmla="*/ 14 h 134"/>
                <a:gd name="T2" fmla="*/ 28 w 29"/>
                <a:gd name="T3" fmla="*/ 20 h 134"/>
                <a:gd name="T4" fmla="*/ 25 w 29"/>
                <a:gd name="T5" fmla="*/ 25 h 134"/>
                <a:gd name="T6" fmla="*/ 20 w 29"/>
                <a:gd name="T7" fmla="*/ 28 h 134"/>
                <a:gd name="T8" fmla="*/ 15 w 29"/>
                <a:gd name="T9" fmla="*/ 29 h 134"/>
                <a:gd name="T10" fmla="*/ 9 w 29"/>
                <a:gd name="T11" fmla="*/ 28 h 134"/>
                <a:gd name="T12" fmla="*/ 5 w 29"/>
                <a:gd name="T13" fmla="*/ 25 h 134"/>
                <a:gd name="T14" fmla="*/ 1 w 29"/>
                <a:gd name="T15" fmla="*/ 20 h 134"/>
                <a:gd name="T16" fmla="*/ 0 w 29"/>
                <a:gd name="T17" fmla="*/ 14 h 134"/>
                <a:gd name="T18" fmla="*/ 1 w 29"/>
                <a:gd name="T19" fmla="*/ 9 h 134"/>
                <a:gd name="T20" fmla="*/ 5 w 29"/>
                <a:gd name="T21" fmla="*/ 4 h 134"/>
                <a:gd name="T22" fmla="*/ 9 w 29"/>
                <a:gd name="T23" fmla="*/ 1 h 134"/>
                <a:gd name="T24" fmla="*/ 15 w 29"/>
                <a:gd name="T25" fmla="*/ 0 h 134"/>
                <a:gd name="T26" fmla="*/ 20 w 29"/>
                <a:gd name="T27" fmla="*/ 1 h 134"/>
                <a:gd name="T28" fmla="*/ 25 w 29"/>
                <a:gd name="T29" fmla="*/ 4 h 134"/>
                <a:gd name="T30" fmla="*/ 28 w 29"/>
                <a:gd name="T31" fmla="*/ 9 h 134"/>
                <a:gd name="T32" fmla="*/ 29 w 29"/>
                <a:gd name="T33" fmla="*/ 14 h 134"/>
                <a:gd name="T34" fmla="*/ 2 w 29"/>
                <a:gd name="T35" fmla="*/ 134 h 134"/>
                <a:gd name="T36" fmla="*/ 2 w 29"/>
                <a:gd name="T37" fmla="*/ 37 h 134"/>
                <a:gd name="T38" fmla="*/ 28 w 29"/>
                <a:gd name="T39" fmla="*/ 37 h 134"/>
                <a:gd name="T40" fmla="*/ 28 w 29"/>
                <a:gd name="T41" fmla="*/ 134 h 134"/>
                <a:gd name="T42" fmla="*/ 2 w 29"/>
                <a:gd name="T43" fmla="*/ 134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9" h="134">
                  <a:moveTo>
                    <a:pt x="29" y="14"/>
                  </a:moveTo>
                  <a:cubicBezTo>
                    <a:pt x="29" y="16"/>
                    <a:pt x="29" y="18"/>
                    <a:pt x="28" y="20"/>
                  </a:cubicBezTo>
                  <a:cubicBezTo>
                    <a:pt x="28" y="22"/>
                    <a:pt x="26" y="23"/>
                    <a:pt x="25" y="25"/>
                  </a:cubicBezTo>
                  <a:cubicBezTo>
                    <a:pt x="24" y="26"/>
                    <a:pt x="22" y="27"/>
                    <a:pt x="20" y="28"/>
                  </a:cubicBezTo>
                  <a:cubicBezTo>
                    <a:pt x="19" y="29"/>
                    <a:pt x="17" y="29"/>
                    <a:pt x="15" y="29"/>
                  </a:cubicBezTo>
                  <a:cubicBezTo>
                    <a:pt x="13" y="29"/>
                    <a:pt x="11" y="29"/>
                    <a:pt x="9" y="28"/>
                  </a:cubicBezTo>
                  <a:cubicBezTo>
                    <a:pt x="7" y="27"/>
                    <a:pt x="6" y="26"/>
                    <a:pt x="5" y="25"/>
                  </a:cubicBezTo>
                  <a:cubicBezTo>
                    <a:pt x="3" y="23"/>
                    <a:pt x="2" y="22"/>
                    <a:pt x="1" y="20"/>
                  </a:cubicBezTo>
                  <a:cubicBezTo>
                    <a:pt x="1" y="18"/>
                    <a:pt x="0" y="16"/>
                    <a:pt x="0" y="14"/>
                  </a:cubicBezTo>
                  <a:cubicBezTo>
                    <a:pt x="0" y="12"/>
                    <a:pt x="1" y="11"/>
                    <a:pt x="1" y="9"/>
                  </a:cubicBezTo>
                  <a:cubicBezTo>
                    <a:pt x="2" y="7"/>
                    <a:pt x="3" y="5"/>
                    <a:pt x="5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2" y="2"/>
                    <a:pt x="24" y="3"/>
                    <a:pt x="25" y="4"/>
                  </a:cubicBezTo>
                  <a:cubicBezTo>
                    <a:pt x="26" y="5"/>
                    <a:pt x="28" y="7"/>
                    <a:pt x="28" y="9"/>
                  </a:cubicBezTo>
                  <a:cubicBezTo>
                    <a:pt x="29" y="11"/>
                    <a:pt x="29" y="12"/>
                    <a:pt x="29" y="14"/>
                  </a:cubicBezTo>
                  <a:close/>
                  <a:moveTo>
                    <a:pt x="2" y="134"/>
                  </a:moveTo>
                  <a:cubicBezTo>
                    <a:pt x="2" y="37"/>
                    <a:pt x="2" y="37"/>
                    <a:pt x="2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134"/>
                    <a:pt x="28" y="134"/>
                    <a:pt x="28" y="134"/>
                  </a:cubicBezTo>
                  <a:lnTo>
                    <a:pt x="2" y="1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97DAE07B-DE87-4358-BA44-6531EF3573CD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9767071" y="1430515"/>
              <a:ext cx="58837" cy="67989"/>
            </a:xfrm>
            <a:custGeom>
              <a:avLst/>
              <a:gdLst>
                <a:gd name="T0" fmla="*/ 59 w 85"/>
                <a:gd name="T1" fmla="*/ 99 h 99"/>
                <a:gd name="T2" fmla="*/ 59 w 85"/>
                <a:gd name="T3" fmla="*/ 47 h 99"/>
                <a:gd name="T4" fmla="*/ 55 w 85"/>
                <a:gd name="T5" fmla="*/ 30 h 99"/>
                <a:gd name="T6" fmla="*/ 43 w 85"/>
                <a:gd name="T7" fmla="*/ 24 h 99"/>
                <a:gd name="T8" fmla="*/ 35 w 85"/>
                <a:gd name="T9" fmla="*/ 25 h 99"/>
                <a:gd name="T10" fmla="*/ 30 w 85"/>
                <a:gd name="T11" fmla="*/ 29 h 99"/>
                <a:gd name="T12" fmla="*/ 27 w 85"/>
                <a:gd name="T13" fmla="*/ 35 h 99"/>
                <a:gd name="T14" fmla="*/ 26 w 85"/>
                <a:gd name="T15" fmla="*/ 46 h 99"/>
                <a:gd name="T16" fmla="*/ 26 w 85"/>
                <a:gd name="T17" fmla="*/ 99 h 99"/>
                <a:gd name="T18" fmla="*/ 0 w 85"/>
                <a:gd name="T19" fmla="*/ 99 h 99"/>
                <a:gd name="T20" fmla="*/ 0 w 85"/>
                <a:gd name="T21" fmla="*/ 2 h 99"/>
                <a:gd name="T22" fmla="*/ 26 w 85"/>
                <a:gd name="T23" fmla="*/ 2 h 99"/>
                <a:gd name="T24" fmla="*/ 26 w 85"/>
                <a:gd name="T25" fmla="*/ 8 h 99"/>
                <a:gd name="T26" fmla="*/ 30 w 85"/>
                <a:gd name="T27" fmla="*/ 5 h 99"/>
                <a:gd name="T28" fmla="*/ 35 w 85"/>
                <a:gd name="T29" fmla="*/ 2 h 99"/>
                <a:gd name="T30" fmla="*/ 42 w 85"/>
                <a:gd name="T31" fmla="*/ 1 h 99"/>
                <a:gd name="T32" fmla="*/ 49 w 85"/>
                <a:gd name="T33" fmla="*/ 0 h 99"/>
                <a:gd name="T34" fmla="*/ 65 w 85"/>
                <a:gd name="T35" fmla="*/ 3 h 99"/>
                <a:gd name="T36" fmla="*/ 76 w 85"/>
                <a:gd name="T37" fmla="*/ 12 h 99"/>
                <a:gd name="T38" fmla="*/ 82 w 85"/>
                <a:gd name="T39" fmla="*/ 26 h 99"/>
                <a:gd name="T40" fmla="*/ 85 w 85"/>
                <a:gd name="T41" fmla="*/ 44 h 99"/>
                <a:gd name="T42" fmla="*/ 85 w 85"/>
                <a:gd name="T43" fmla="*/ 99 h 99"/>
                <a:gd name="T44" fmla="*/ 59 w 85"/>
                <a:gd name="T45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5" h="99">
                  <a:moveTo>
                    <a:pt x="59" y="99"/>
                  </a:moveTo>
                  <a:cubicBezTo>
                    <a:pt x="59" y="47"/>
                    <a:pt x="59" y="47"/>
                    <a:pt x="59" y="47"/>
                  </a:cubicBezTo>
                  <a:cubicBezTo>
                    <a:pt x="59" y="39"/>
                    <a:pt x="58" y="33"/>
                    <a:pt x="55" y="30"/>
                  </a:cubicBezTo>
                  <a:cubicBezTo>
                    <a:pt x="53" y="26"/>
                    <a:pt x="49" y="24"/>
                    <a:pt x="43" y="24"/>
                  </a:cubicBezTo>
                  <a:cubicBezTo>
                    <a:pt x="40" y="24"/>
                    <a:pt x="38" y="24"/>
                    <a:pt x="35" y="25"/>
                  </a:cubicBezTo>
                  <a:cubicBezTo>
                    <a:pt x="33" y="26"/>
                    <a:pt x="32" y="27"/>
                    <a:pt x="30" y="29"/>
                  </a:cubicBezTo>
                  <a:cubicBezTo>
                    <a:pt x="29" y="30"/>
                    <a:pt x="28" y="33"/>
                    <a:pt x="27" y="35"/>
                  </a:cubicBezTo>
                  <a:cubicBezTo>
                    <a:pt x="26" y="38"/>
                    <a:pt x="26" y="42"/>
                    <a:pt x="26" y="46"/>
                  </a:cubicBezTo>
                  <a:cubicBezTo>
                    <a:pt x="26" y="99"/>
                    <a:pt x="26" y="99"/>
                    <a:pt x="26" y="99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7" y="7"/>
                    <a:pt x="28" y="6"/>
                    <a:pt x="30" y="5"/>
                  </a:cubicBezTo>
                  <a:cubicBezTo>
                    <a:pt x="31" y="4"/>
                    <a:pt x="33" y="3"/>
                    <a:pt x="35" y="2"/>
                  </a:cubicBezTo>
                  <a:cubicBezTo>
                    <a:pt x="37" y="2"/>
                    <a:pt x="39" y="1"/>
                    <a:pt x="42" y="1"/>
                  </a:cubicBezTo>
                  <a:cubicBezTo>
                    <a:pt x="44" y="0"/>
                    <a:pt x="46" y="0"/>
                    <a:pt x="49" y="0"/>
                  </a:cubicBezTo>
                  <a:cubicBezTo>
                    <a:pt x="55" y="0"/>
                    <a:pt x="60" y="1"/>
                    <a:pt x="65" y="3"/>
                  </a:cubicBezTo>
                  <a:cubicBezTo>
                    <a:pt x="69" y="5"/>
                    <a:pt x="73" y="8"/>
                    <a:pt x="76" y="12"/>
                  </a:cubicBezTo>
                  <a:cubicBezTo>
                    <a:pt x="79" y="16"/>
                    <a:pt x="81" y="20"/>
                    <a:pt x="82" y="26"/>
                  </a:cubicBezTo>
                  <a:cubicBezTo>
                    <a:pt x="84" y="31"/>
                    <a:pt x="85" y="38"/>
                    <a:pt x="85" y="44"/>
                  </a:cubicBezTo>
                  <a:cubicBezTo>
                    <a:pt x="85" y="99"/>
                    <a:pt x="85" y="99"/>
                    <a:pt x="85" y="99"/>
                  </a:cubicBezTo>
                  <a:lnTo>
                    <a:pt x="59" y="9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39829C97-B9FD-4508-8651-C460629865A1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9880823" y="1410902"/>
              <a:ext cx="71912" cy="87602"/>
            </a:xfrm>
            <a:custGeom>
              <a:avLst/>
              <a:gdLst>
                <a:gd name="T0" fmla="*/ 105 w 105"/>
                <a:gd name="T1" fmla="*/ 64 h 129"/>
                <a:gd name="T2" fmla="*/ 103 w 105"/>
                <a:gd name="T3" fmla="*/ 85 h 129"/>
                <a:gd name="T4" fmla="*/ 96 w 105"/>
                <a:gd name="T5" fmla="*/ 101 h 129"/>
                <a:gd name="T6" fmla="*/ 85 w 105"/>
                <a:gd name="T7" fmla="*/ 114 h 129"/>
                <a:gd name="T8" fmla="*/ 71 w 105"/>
                <a:gd name="T9" fmla="*/ 122 h 129"/>
                <a:gd name="T10" fmla="*/ 55 w 105"/>
                <a:gd name="T11" fmla="*/ 128 h 129"/>
                <a:gd name="T12" fmla="*/ 39 w 105"/>
                <a:gd name="T13" fmla="*/ 129 h 129"/>
                <a:gd name="T14" fmla="*/ 0 w 105"/>
                <a:gd name="T15" fmla="*/ 129 h 129"/>
                <a:gd name="T16" fmla="*/ 0 w 105"/>
                <a:gd name="T17" fmla="*/ 0 h 129"/>
                <a:gd name="T18" fmla="*/ 41 w 105"/>
                <a:gd name="T19" fmla="*/ 0 h 129"/>
                <a:gd name="T20" fmla="*/ 67 w 105"/>
                <a:gd name="T21" fmla="*/ 3 h 129"/>
                <a:gd name="T22" fmla="*/ 87 w 105"/>
                <a:gd name="T23" fmla="*/ 14 h 129"/>
                <a:gd name="T24" fmla="*/ 100 w 105"/>
                <a:gd name="T25" fmla="*/ 34 h 129"/>
                <a:gd name="T26" fmla="*/ 105 w 105"/>
                <a:gd name="T27" fmla="*/ 64 h 129"/>
                <a:gd name="T28" fmla="*/ 79 w 105"/>
                <a:gd name="T29" fmla="*/ 64 h 129"/>
                <a:gd name="T30" fmla="*/ 76 w 105"/>
                <a:gd name="T31" fmla="*/ 47 h 129"/>
                <a:gd name="T32" fmla="*/ 70 w 105"/>
                <a:gd name="T33" fmla="*/ 35 h 129"/>
                <a:gd name="T34" fmla="*/ 58 w 105"/>
                <a:gd name="T35" fmla="*/ 27 h 129"/>
                <a:gd name="T36" fmla="*/ 40 w 105"/>
                <a:gd name="T37" fmla="*/ 25 h 129"/>
                <a:gd name="T38" fmla="*/ 26 w 105"/>
                <a:gd name="T39" fmla="*/ 25 h 129"/>
                <a:gd name="T40" fmla="*/ 26 w 105"/>
                <a:gd name="T41" fmla="*/ 104 h 129"/>
                <a:gd name="T42" fmla="*/ 39 w 105"/>
                <a:gd name="T43" fmla="*/ 104 h 129"/>
                <a:gd name="T44" fmla="*/ 57 w 105"/>
                <a:gd name="T45" fmla="*/ 101 h 129"/>
                <a:gd name="T46" fmla="*/ 69 w 105"/>
                <a:gd name="T47" fmla="*/ 93 h 129"/>
                <a:gd name="T48" fmla="*/ 76 w 105"/>
                <a:gd name="T49" fmla="*/ 81 h 129"/>
                <a:gd name="T50" fmla="*/ 79 w 105"/>
                <a:gd name="T51" fmla="*/ 64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5" h="129">
                  <a:moveTo>
                    <a:pt x="105" y="64"/>
                  </a:moveTo>
                  <a:cubicBezTo>
                    <a:pt x="105" y="72"/>
                    <a:pt x="104" y="79"/>
                    <a:pt x="103" y="85"/>
                  </a:cubicBezTo>
                  <a:cubicBezTo>
                    <a:pt x="101" y="91"/>
                    <a:pt x="99" y="97"/>
                    <a:pt x="96" y="101"/>
                  </a:cubicBezTo>
                  <a:cubicBezTo>
                    <a:pt x="92" y="106"/>
                    <a:pt x="89" y="110"/>
                    <a:pt x="85" y="114"/>
                  </a:cubicBezTo>
                  <a:cubicBezTo>
                    <a:pt x="80" y="117"/>
                    <a:pt x="76" y="120"/>
                    <a:pt x="71" y="122"/>
                  </a:cubicBezTo>
                  <a:cubicBezTo>
                    <a:pt x="66" y="125"/>
                    <a:pt x="61" y="126"/>
                    <a:pt x="55" y="128"/>
                  </a:cubicBezTo>
                  <a:cubicBezTo>
                    <a:pt x="50" y="129"/>
                    <a:pt x="44" y="129"/>
                    <a:pt x="39" y="129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50" y="0"/>
                    <a:pt x="59" y="1"/>
                    <a:pt x="67" y="3"/>
                  </a:cubicBezTo>
                  <a:cubicBezTo>
                    <a:pt x="74" y="5"/>
                    <a:pt x="81" y="9"/>
                    <a:pt x="87" y="14"/>
                  </a:cubicBezTo>
                  <a:cubicBezTo>
                    <a:pt x="93" y="19"/>
                    <a:pt x="97" y="26"/>
                    <a:pt x="100" y="34"/>
                  </a:cubicBezTo>
                  <a:cubicBezTo>
                    <a:pt x="104" y="43"/>
                    <a:pt x="105" y="53"/>
                    <a:pt x="105" y="64"/>
                  </a:cubicBezTo>
                  <a:close/>
                  <a:moveTo>
                    <a:pt x="79" y="64"/>
                  </a:moveTo>
                  <a:cubicBezTo>
                    <a:pt x="79" y="58"/>
                    <a:pt x="78" y="52"/>
                    <a:pt x="76" y="47"/>
                  </a:cubicBezTo>
                  <a:cubicBezTo>
                    <a:pt x="75" y="42"/>
                    <a:pt x="73" y="38"/>
                    <a:pt x="70" y="35"/>
                  </a:cubicBezTo>
                  <a:cubicBezTo>
                    <a:pt x="66" y="31"/>
                    <a:pt x="62" y="29"/>
                    <a:pt x="58" y="27"/>
                  </a:cubicBezTo>
                  <a:cubicBezTo>
                    <a:pt x="53" y="26"/>
                    <a:pt x="47" y="25"/>
                    <a:pt x="40" y="25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6" y="104"/>
                    <a:pt x="26" y="104"/>
                    <a:pt x="26" y="104"/>
                  </a:cubicBezTo>
                  <a:cubicBezTo>
                    <a:pt x="39" y="104"/>
                    <a:pt x="39" y="104"/>
                    <a:pt x="39" y="104"/>
                  </a:cubicBezTo>
                  <a:cubicBezTo>
                    <a:pt x="46" y="104"/>
                    <a:pt x="52" y="103"/>
                    <a:pt x="57" y="101"/>
                  </a:cubicBezTo>
                  <a:cubicBezTo>
                    <a:pt x="62" y="99"/>
                    <a:pt x="66" y="97"/>
                    <a:pt x="69" y="93"/>
                  </a:cubicBezTo>
                  <a:cubicBezTo>
                    <a:pt x="72" y="90"/>
                    <a:pt x="75" y="85"/>
                    <a:pt x="76" y="81"/>
                  </a:cubicBezTo>
                  <a:cubicBezTo>
                    <a:pt x="78" y="76"/>
                    <a:pt x="79" y="70"/>
                    <a:pt x="79" y="6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E6E8D961-2633-4DD4-9603-DC987B33CBF8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9964502" y="1430515"/>
              <a:ext cx="56222" cy="69297"/>
            </a:xfrm>
            <a:custGeom>
              <a:avLst/>
              <a:gdLst>
                <a:gd name="T0" fmla="*/ 84 w 84"/>
                <a:gd name="T1" fmla="*/ 51 h 101"/>
                <a:gd name="T2" fmla="*/ 84 w 84"/>
                <a:gd name="T3" fmla="*/ 55 h 101"/>
                <a:gd name="T4" fmla="*/ 84 w 84"/>
                <a:gd name="T5" fmla="*/ 59 h 101"/>
                <a:gd name="T6" fmla="*/ 26 w 84"/>
                <a:gd name="T7" fmla="*/ 59 h 101"/>
                <a:gd name="T8" fmla="*/ 28 w 84"/>
                <a:gd name="T9" fmla="*/ 67 h 101"/>
                <a:gd name="T10" fmla="*/ 32 w 84"/>
                <a:gd name="T11" fmla="*/ 73 h 101"/>
                <a:gd name="T12" fmla="*/ 39 w 84"/>
                <a:gd name="T13" fmla="*/ 76 h 101"/>
                <a:gd name="T14" fmla="*/ 46 w 84"/>
                <a:gd name="T15" fmla="*/ 77 h 101"/>
                <a:gd name="T16" fmla="*/ 50 w 84"/>
                <a:gd name="T17" fmla="*/ 77 h 101"/>
                <a:gd name="T18" fmla="*/ 55 w 84"/>
                <a:gd name="T19" fmla="*/ 75 h 101"/>
                <a:gd name="T20" fmla="*/ 59 w 84"/>
                <a:gd name="T21" fmla="*/ 73 h 101"/>
                <a:gd name="T22" fmla="*/ 62 w 84"/>
                <a:gd name="T23" fmla="*/ 70 h 101"/>
                <a:gd name="T24" fmla="*/ 80 w 84"/>
                <a:gd name="T25" fmla="*/ 85 h 101"/>
                <a:gd name="T26" fmla="*/ 74 w 84"/>
                <a:gd name="T27" fmla="*/ 92 h 101"/>
                <a:gd name="T28" fmla="*/ 65 w 84"/>
                <a:gd name="T29" fmla="*/ 97 h 101"/>
                <a:gd name="T30" fmla="*/ 55 w 84"/>
                <a:gd name="T31" fmla="*/ 100 h 101"/>
                <a:gd name="T32" fmla="*/ 46 w 84"/>
                <a:gd name="T33" fmla="*/ 101 h 101"/>
                <a:gd name="T34" fmla="*/ 31 w 84"/>
                <a:gd name="T35" fmla="*/ 99 h 101"/>
                <a:gd name="T36" fmla="*/ 20 w 84"/>
                <a:gd name="T37" fmla="*/ 94 h 101"/>
                <a:gd name="T38" fmla="*/ 12 w 84"/>
                <a:gd name="T39" fmla="*/ 87 h 101"/>
                <a:gd name="T40" fmla="*/ 5 w 84"/>
                <a:gd name="T41" fmla="*/ 77 h 101"/>
                <a:gd name="T42" fmla="*/ 1 w 84"/>
                <a:gd name="T43" fmla="*/ 65 h 101"/>
                <a:gd name="T44" fmla="*/ 0 w 84"/>
                <a:gd name="T45" fmla="*/ 51 h 101"/>
                <a:gd name="T46" fmla="*/ 3 w 84"/>
                <a:gd name="T47" fmla="*/ 30 h 101"/>
                <a:gd name="T48" fmla="*/ 12 w 84"/>
                <a:gd name="T49" fmla="*/ 14 h 101"/>
                <a:gd name="T50" fmla="*/ 26 w 84"/>
                <a:gd name="T51" fmla="*/ 4 h 101"/>
                <a:gd name="T52" fmla="*/ 43 w 84"/>
                <a:gd name="T53" fmla="*/ 0 h 101"/>
                <a:gd name="T54" fmla="*/ 61 w 84"/>
                <a:gd name="T55" fmla="*/ 4 h 101"/>
                <a:gd name="T56" fmla="*/ 73 w 84"/>
                <a:gd name="T57" fmla="*/ 15 h 101"/>
                <a:gd name="T58" fmla="*/ 81 w 84"/>
                <a:gd name="T59" fmla="*/ 31 h 101"/>
                <a:gd name="T60" fmla="*/ 84 w 84"/>
                <a:gd name="T61" fmla="*/ 51 h 101"/>
                <a:gd name="T62" fmla="*/ 59 w 84"/>
                <a:gd name="T63" fmla="*/ 40 h 101"/>
                <a:gd name="T64" fmla="*/ 58 w 84"/>
                <a:gd name="T65" fmla="*/ 33 h 101"/>
                <a:gd name="T66" fmla="*/ 55 w 84"/>
                <a:gd name="T67" fmla="*/ 28 h 101"/>
                <a:gd name="T68" fmla="*/ 49 w 84"/>
                <a:gd name="T69" fmla="*/ 24 h 101"/>
                <a:gd name="T70" fmla="*/ 42 w 84"/>
                <a:gd name="T71" fmla="*/ 22 h 101"/>
                <a:gd name="T72" fmla="*/ 36 w 84"/>
                <a:gd name="T73" fmla="*/ 24 h 101"/>
                <a:gd name="T74" fmla="*/ 31 w 84"/>
                <a:gd name="T75" fmla="*/ 27 h 101"/>
                <a:gd name="T76" fmla="*/ 28 w 84"/>
                <a:gd name="T77" fmla="*/ 33 h 101"/>
                <a:gd name="T78" fmla="*/ 26 w 84"/>
                <a:gd name="T79" fmla="*/ 40 h 101"/>
                <a:gd name="T80" fmla="*/ 59 w 84"/>
                <a:gd name="T81" fmla="*/ 4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4" h="101">
                  <a:moveTo>
                    <a:pt x="84" y="51"/>
                  </a:moveTo>
                  <a:cubicBezTo>
                    <a:pt x="84" y="52"/>
                    <a:pt x="84" y="54"/>
                    <a:pt x="84" y="55"/>
                  </a:cubicBezTo>
                  <a:cubicBezTo>
                    <a:pt x="84" y="57"/>
                    <a:pt x="84" y="58"/>
                    <a:pt x="84" y="59"/>
                  </a:cubicBezTo>
                  <a:cubicBezTo>
                    <a:pt x="26" y="59"/>
                    <a:pt x="26" y="59"/>
                    <a:pt x="26" y="59"/>
                  </a:cubicBezTo>
                  <a:cubicBezTo>
                    <a:pt x="26" y="62"/>
                    <a:pt x="27" y="65"/>
                    <a:pt x="28" y="67"/>
                  </a:cubicBezTo>
                  <a:cubicBezTo>
                    <a:pt x="29" y="70"/>
                    <a:pt x="31" y="71"/>
                    <a:pt x="32" y="73"/>
                  </a:cubicBezTo>
                  <a:cubicBezTo>
                    <a:pt x="34" y="74"/>
                    <a:pt x="36" y="75"/>
                    <a:pt x="39" y="76"/>
                  </a:cubicBezTo>
                  <a:cubicBezTo>
                    <a:pt x="41" y="77"/>
                    <a:pt x="43" y="77"/>
                    <a:pt x="46" y="77"/>
                  </a:cubicBezTo>
                  <a:cubicBezTo>
                    <a:pt x="47" y="77"/>
                    <a:pt x="49" y="77"/>
                    <a:pt x="50" y="77"/>
                  </a:cubicBezTo>
                  <a:cubicBezTo>
                    <a:pt x="52" y="76"/>
                    <a:pt x="54" y="76"/>
                    <a:pt x="55" y="75"/>
                  </a:cubicBezTo>
                  <a:cubicBezTo>
                    <a:pt x="57" y="75"/>
                    <a:pt x="58" y="74"/>
                    <a:pt x="59" y="73"/>
                  </a:cubicBezTo>
                  <a:cubicBezTo>
                    <a:pt x="60" y="72"/>
                    <a:pt x="61" y="71"/>
                    <a:pt x="62" y="70"/>
                  </a:cubicBezTo>
                  <a:cubicBezTo>
                    <a:pt x="80" y="85"/>
                    <a:pt x="80" y="85"/>
                    <a:pt x="80" y="85"/>
                  </a:cubicBezTo>
                  <a:cubicBezTo>
                    <a:pt x="78" y="88"/>
                    <a:pt x="76" y="90"/>
                    <a:pt x="74" y="92"/>
                  </a:cubicBezTo>
                  <a:cubicBezTo>
                    <a:pt x="71" y="94"/>
                    <a:pt x="68" y="96"/>
                    <a:pt x="65" y="97"/>
                  </a:cubicBezTo>
                  <a:cubicBezTo>
                    <a:pt x="62" y="98"/>
                    <a:pt x="59" y="99"/>
                    <a:pt x="55" y="100"/>
                  </a:cubicBezTo>
                  <a:cubicBezTo>
                    <a:pt x="52" y="101"/>
                    <a:pt x="49" y="101"/>
                    <a:pt x="46" y="101"/>
                  </a:cubicBezTo>
                  <a:cubicBezTo>
                    <a:pt x="40" y="101"/>
                    <a:pt x="35" y="101"/>
                    <a:pt x="31" y="99"/>
                  </a:cubicBezTo>
                  <a:cubicBezTo>
                    <a:pt x="27" y="98"/>
                    <a:pt x="23" y="96"/>
                    <a:pt x="20" y="94"/>
                  </a:cubicBezTo>
                  <a:cubicBezTo>
                    <a:pt x="17" y="92"/>
                    <a:pt x="14" y="89"/>
                    <a:pt x="12" y="87"/>
                  </a:cubicBezTo>
                  <a:cubicBezTo>
                    <a:pt x="9" y="84"/>
                    <a:pt x="7" y="80"/>
                    <a:pt x="5" y="77"/>
                  </a:cubicBezTo>
                  <a:cubicBezTo>
                    <a:pt x="4" y="73"/>
                    <a:pt x="2" y="69"/>
                    <a:pt x="1" y="65"/>
                  </a:cubicBezTo>
                  <a:cubicBezTo>
                    <a:pt x="0" y="61"/>
                    <a:pt x="0" y="56"/>
                    <a:pt x="0" y="51"/>
                  </a:cubicBezTo>
                  <a:cubicBezTo>
                    <a:pt x="0" y="43"/>
                    <a:pt x="1" y="36"/>
                    <a:pt x="3" y="30"/>
                  </a:cubicBezTo>
                  <a:cubicBezTo>
                    <a:pt x="5" y="24"/>
                    <a:pt x="8" y="19"/>
                    <a:pt x="12" y="14"/>
                  </a:cubicBezTo>
                  <a:cubicBezTo>
                    <a:pt x="16" y="10"/>
                    <a:pt x="21" y="6"/>
                    <a:pt x="26" y="4"/>
                  </a:cubicBezTo>
                  <a:cubicBezTo>
                    <a:pt x="31" y="1"/>
                    <a:pt x="37" y="0"/>
                    <a:pt x="43" y="0"/>
                  </a:cubicBezTo>
                  <a:cubicBezTo>
                    <a:pt x="50" y="0"/>
                    <a:pt x="55" y="1"/>
                    <a:pt x="61" y="4"/>
                  </a:cubicBezTo>
                  <a:cubicBezTo>
                    <a:pt x="66" y="7"/>
                    <a:pt x="70" y="10"/>
                    <a:pt x="73" y="15"/>
                  </a:cubicBezTo>
                  <a:cubicBezTo>
                    <a:pt x="77" y="19"/>
                    <a:pt x="79" y="25"/>
                    <a:pt x="81" y="31"/>
                  </a:cubicBezTo>
                  <a:cubicBezTo>
                    <a:pt x="83" y="37"/>
                    <a:pt x="84" y="44"/>
                    <a:pt x="84" y="51"/>
                  </a:cubicBezTo>
                  <a:close/>
                  <a:moveTo>
                    <a:pt x="59" y="40"/>
                  </a:moveTo>
                  <a:cubicBezTo>
                    <a:pt x="59" y="37"/>
                    <a:pt x="59" y="35"/>
                    <a:pt x="58" y="33"/>
                  </a:cubicBezTo>
                  <a:cubicBezTo>
                    <a:pt x="57" y="31"/>
                    <a:pt x="56" y="29"/>
                    <a:pt x="55" y="28"/>
                  </a:cubicBezTo>
                  <a:cubicBezTo>
                    <a:pt x="53" y="26"/>
                    <a:pt x="51" y="25"/>
                    <a:pt x="49" y="24"/>
                  </a:cubicBezTo>
                  <a:cubicBezTo>
                    <a:pt x="47" y="23"/>
                    <a:pt x="45" y="22"/>
                    <a:pt x="42" y="22"/>
                  </a:cubicBezTo>
                  <a:cubicBezTo>
                    <a:pt x="40" y="22"/>
                    <a:pt x="37" y="23"/>
                    <a:pt x="36" y="24"/>
                  </a:cubicBezTo>
                  <a:cubicBezTo>
                    <a:pt x="34" y="24"/>
                    <a:pt x="32" y="26"/>
                    <a:pt x="31" y="27"/>
                  </a:cubicBezTo>
                  <a:cubicBezTo>
                    <a:pt x="29" y="29"/>
                    <a:pt x="28" y="31"/>
                    <a:pt x="28" y="33"/>
                  </a:cubicBezTo>
                  <a:cubicBezTo>
                    <a:pt x="27" y="35"/>
                    <a:pt x="26" y="37"/>
                    <a:pt x="26" y="40"/>
                  </a:cubicBezTo>
                  <a:lnTo>
                    <a:pt x="59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F4A1F26E-26EA-44D8-8D11-97229CEC2530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035106" y="1431822"/>
              <a:ext cx="57529" cy="67989"/>
            </a:xfrm>
            <a:custGeom>
              <a:avLst/>
              <a:gdLst>
                <a:gd name="T0" fmla="*/ 58 w 84"/>
                <a:gd name="T1" fmla="*/ 97 h 99"/>
                <a:gd name="T2" fmla="*/ 58 w 84"/>
                <a:gd name="T3" fmla="*/ 91 h 99"/>
                <a:gd name="T4" fmla="*/ 49 w 84"/>
                <a:gd name="T5" fmla="*/ 97 h 99"/>
                <a:gd name="T6" fmla="*/ 35 w 84"/>
                <a:gd name="T7" fmla="*/ 99 h 99"/>
                <a:gd name="T8" fmla="*/ 9 w 84"/>
                <a:gd name="T9" fmla="*/ 88 h 99"/>
                <a:gd name="T10" fmla="*/ 0 w 84"/>
                <a:gd name="T11" fmla="*/ 55 h 99"/>
                <a:gd name="T12" fmla="*/ 0 w 84"/>
                <a:gd name="T13" fmla="*/ 0 h 99"/>
                <a:gd name="T14" fmla="*/ 25 w 84"/>
                <a:gd name="T15" fmla="*/ 0 h 99"/>
                <a:gd name="T16" fmla="*/ 25 w 84"/>
                <a:gd name="T17" fmla="*/ 52 h 99"/>
                <a:gd name="T18" fmla="*/ 29 w 84"/>
                <a:gd name="T19" fmla="*/ 70 h 99"/>
                <a:gd name="T20" fmla="*/ 42 w 84"/>
                <a:gd name="T21" fmla="*/ 75 h 99"/>
                <a:gd name="T22" fmla="*/ 54 w 84"/>
                <a:gd name="T23" fmla="*/ 70 h 99"/>
                <a:gd name="T24" fmla="*/ 58 w 84"/>
                <a:gd name="T25" fmla="*/ 53 h 99"/>
                <a:gd name="T26" fmla="*/ 58 w 84"/>
                <a:gd name="T27" fmla="*/ 0 h 99"/>
                <a:gd name="T28" fmla="*/ 84 w 84"/>
                <a:gd name="T29" fmla="*/ 0 h 99"/>
                <a:gd name="T30" fmla="*/ 84 w 84"/>
                <a:gd name="T31" fmla="*/ 97 h 99"/>
                <a:gd name="T32" fmla="*/ 58 w 84"/>
                <a:gd name="T33" fmla="*/ 97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4" h="99">
                  <a:moveTo>
                    <a:pt x="58" y="97"/>
                  </a:moveTo>
                  <a:cubicBezTo>
                    <a:pt x="58" y="91"/>
                    <a:pt x="58" y="91"/>
                    <a:pt x="58" y="91"/>
                  </a:cubicBezTo>
                  <a:cubicBezTo>
                    <a:pt x="56" y="93"/>
                    <a:pt x="53" y="95"/>
                    <a:pt x="49" y="97"/>
                  </a:cubicBezTo>
                  <a:cubicBezTo>
                    <a:pt x="45" y="98"/>
                    <a:pt x="41" y="99"/>
                    <a:pt x="35" y="99"/>
                  </a:cubicBezTo>
                  <a:cubicBezTo>
                    <a:pt x="24" y="99"/>
                    <a:pt x="15" y="95"/>
                    <a:pt x="9" y="88"/>
                  </a:cubicBezTo>
                  <a:cubicBezTo>
                    <a:pt x="3" y="80"/>
                    <a:pt x="0" y="69"/>
                    <a:pt x="0" y="5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52"/>
                    <a:pt x="25" y="52"/>
                    <a:pt x="25" y="52"/>
                  </a:cubicBezTo>
                  <a:cubicBezTo>
                    <a:pt x="25" y="60"/>
                    <a:pt x="26" y="66"/>
                    <a:pt x="29" y="70"/>
                  </a:cubicBezTo>
                  <a:cubicBezTo>
                    <a:pt x="31" y="73"/>
                    <a:pt x="36" y="75"/>
                    <a:pt x="42" y="75"/>
                  </a:cubicBezTo>
                  <a:cubicBezTo>
                    <a:pt x="48" y="75"/>
                    <a:pt x="52" y="73"/>
                    <a:pt x="54" y="70"/>
                  </a:cubicBezTo>
                  <a:cubicBezTo>
                    <a:pt x="57" y="66"/>
                    <a:pt x="58" y="60"/>
                    <a:pt x="58" y="53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97"/>
                    <a:pt x="84" y="97"/>
                    <a:pt x="84" y="97"/>
                  </a:cubicBezTo>
                  <a:lnTo>
                    <a:pt x="58" y="9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45C1803D-4651-4E80-B712-F3F311657C4D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104403" y="1406980"/>
              <a:ext cx="43148" cy="92832"/>
            </a:xfrm>
            <a:custGeom>
              <a:avLst/>
              <a:gdLst>
                <a:gd name="T0" fmla="*/ 62 w 65"/>
                <a:gd name="T1" fmla="*/ 131 h 137"/>
                <a:gd name="T2" fmla="*/ 53 w 65"/>
                <a:gd name="T3" fmla="*/ 135 h 137"/>
                <a:gd name="T4" fmla="*/ 42 w 65"/>
                <a:gd name="T5" fmla="*/ 137 h 137"/>
                <a:gd name="T6" fmla="*/ 31 w 65"/>
                <a:gd name="T7" fmla="*/ 135 h 137"/>
                <a:gd name="T8" fmla="*/ 23 w 65"/>
                <a:gd name="T9" fmla="*/ 129 h 137"/>
                <a:gd name="T10" fmla="*/ 18 w 65"/>
                <a:gd name="T11" fmla="*/ 120 h 137"/>
                <a:gd name="T12" fmla="*/ 16 w 65"/>
                <a:gd name="T13" fmla="*/ 108 h 137"/>
                <a:gd name="T14" fmla="*/ 16 w 65"/>
                <a:gd name="T15" fmla="*/ 62 h 137"/>
                <a:gd name="T16" fmla="*/ 0 w 65"/>
                <a:gd name="T17" fmla="*/ 62 h 137"/>
                <a:gd name="T18" fmla="*/ 0 w 65"/>
                <a:gd name="T19" fmla="*/ 38 h 137"/>
                <a:gd name="T20" fmla="*/ 16 w 65"/>
                <a:gd name="T21" fmla="*/ 38 h 137"/>
                <a:gd name="T22" fmla="*/ 16 w 65"/>
                <a:gd name="T23" fmla="*/ 13 h 137"/>
                <a:gd name="T24" fmla="*/ 42 w 65"/>
                <a:gd name="T25" fmla="*/ 0 h 137"/>
                <a:gd name="T26" fmla="*/ 42 w 65"/>
                <a:gd name="T27" fmla="*/ 38 h 137"/>
                <a:gd name="T28" fmla="*/ 65 w 65"/>
                <a:gd name="T29" fmla="*/ 38 h 137"/>
                <a:gd name="T30" fmla="*/ 65 w 65"/>
                <a:gd name="T31" fmla="*/ 62 h 137"/>
                <a:gd name="T32" fmla="*/ 42 w 65"/>
                <a:gd name="T33" fmla="*/ 62 h 137"/>
                <a:gd name="T34" fmla="*/ 42 w 65"/>
                <a:gd name="T35" fmla="*/ 101 h 137"/>
                <a:gd name="T36" fmla="*/ 42 w 65"/>
                <a:gd name="T37" fmla="*/ 107 h 137"/>
                <a:gd name="T38" fmla="*/ 44 w 65"/>
                <a:gd name="T39" fmla="*/ 110 h 137"/>
                <a:gd name="T40" fmla="*/ 47 w 65"/>
                <a:gd name="T41" fmla="*/ 112 h 137"/>
                <a:gd name="T42" fmla="*/ 51 w 65"/>
                <a:gd name="T43" fmla="*/ 113 h 137"/>
                <a:gd name="T44" fmla="*/ 58 w 65"/>
                <a:gd name="T45" fmla="*/ 111 h 137"/>
                <a:gd name="T46" fmla="*/ 65 w 65"/>
                <a:gd name="T47" fmla="*/ 105 h 137"/>
                <a:gd name="T48" fmla="*/ 62 w 65"/>
                <a:gd name="T49" fmla="*/ 131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5" h="137">
                  <a:moveTo>
                    <a:pt x="62" y="131"/>
                  </a:moveTo>
                  <a:cubicBezTo>
                    <a:pt x="60" y="133"/>
                    <a:pt x="57" y="134"/>
                    <a:pt x="53" y="135"/>
                  </a:cubicBezTo>
                  <a:cubicBezTo>
                    <a:pt x="50" y="137"/>
                    <a:pt x="46" y="137"/>
                    <a:pt x="42" y="137"/>
                  </a:cubicBezTo>
                  <a:cubicBezTo>
                    <a:pt x="38" y="137"/>
                    <a:pt x="34" y="136"/>
                    <a:pt x="31" y="135"/>
                  </a:cubicBezTo>
                  <a:cubicBezTo>
                    <a:pt x="28" y="134"/>
                    <a:pt x="25" y="132"/>
                    <a:pt x="23" y="129"/>
                  </a:cubicBezTo>
                  <a:cubicBezTo>
                    <a:pt x="21" y="126"/>
                    <a:pt x="19" y="123"/>
                    <a:pt x="18" y="120"/>
                  </a:cubicBezTo>
                  <a:cubicBezTo>
                    <a:pt x="17" y="116"/>
                    <a:pt x="16" y="112"/>
                    <a:pt x="16" y="108"/>
                  </a:cubicBezTo>
                  <a:cubicBezTo>
                    <a:pt x="16" y="62"/>
                    <a:pt x="16" y="62"/>
                    <a:pt x="16" y="62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38"/>
                    <a:pt x="42" y="38"/>
                    <a:pt x="42" y="38"/>
                  </a:cubicBezTo>
                  <a:cubicBezTo>
                    <a:pt x="65" y="38"/>
                    <a:pt x="65" y="38"/>
                    <a:pt x="65" y="38"/>
                  </a:cubicBezTo>
                  <a:cubicBezTo>
                    <a:pt x="65" y="62"/>
                    <a:pt x="65" y="62"/>
                    <a:pt x="65" y="62"/>
                  </a:cubicBezTo>
                  <a:cubicBezTo>
                    <a:pt x="42" y="62"/>
                    <a:pt x="42" y="62"/>
                    <a:pt x="42" y="62"/>
                  </a:cubicBezTo>
                  <a:cubicBezTo>
                    <a:pt x="42" y="101"/>
                    <a:pt x="42" y="101"/>
                    <a:pt x="42" y="101"/>
                  </a:cubicBezTo>
                  <a:cubicBezTo>
                    <a:pt x="42" y="103"/>
                    <a:pt x="42" y="105"/>
                    <a:pt x="42" y="107"/>
                  </a:cubicBezTo>
                  <a:cubicBezTo>
                    <a:pt x="43" y="108"/>
                    <a:pt x="43" y="110"/>
                    <a:pt x="44" y="110"/>
                  </a:cubicBezTo>
                  <a:cubicBezTo>
                    <a:pt x="45" y="111"/>
                    <a:pt x="46" y="112"/>
                    <a:pt x="47" y="112"/>
                  </a:cubicBezTo>
                  <a:cubicBezTo>
                    <a:pt x="48" y="113"/>
                    <a:pt x="49" y="113"/>
                    <a:pt x="51" y="113"/>
                  </a:cubicBezTo>
                  <a:cubicBezTo>
                    <a:pt x="53" y="113"/>
                    <a:pt x="55" y="112"/>
                    <a:pt x="58" y="111"/>
                  </a:cubicBezTo>
                  <a:cubicBezTo>
                    <a:pt x="60" y="110"/>
                    <a:pt x="62" y="108"/>
                    <a:pt x="65" y="105"/>
                  </a:cubicBezTo>
                  <a:lnTo>
                    <a:pt x="62" y="13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id="{711CC3A8-EDFC-4EAE-A2DC-ACDC3B1D9DEB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160625" y="1430515"/>
              <a:ext cx="56222" cy="69297"/>
            </a:xfrm>
            <a:custGeom>
              <a:avLst/>
              <a:gdLst>
                <a:gd name="T0" fmla="*/ 78 w 81"/>
                <a:gd name="T1" fmla="*/ 9 h 101"/>
                <a:gd name="T2" fmla="*/ 70 w 81"/>
                <a:gd name="T3" fmla="*/ 30 h 101"/>
                <a:gd name="T4" fmla="*/ 55 w 81"/>
                <a:gd name="T5" fmla="*/ 24 h 101"/>
                <a:gd name="T6" fmla="*/ 41 w 81"/>
                <a:gd name="T7" fmla="*/ 22 h 101"/>
                <a:gd name="T8" fmla="*/ 31 w 81"/>
                <a:gd name="T9" fmla="*/ 23 h 101"/>
                <a:gd name="T10" fmla="*/ 28 w 81"/>
                <a:gd name="T11" fmla="*/ 28 h 101"/>
                <a:gd name="T12" fmla="*/ 29 w 81"/>
                <a:gd name="T13" fmla="*/ 31 h 101"/>
                <a:gd name="T14" fmla="*/ 32 w 81"/>
                <a:gd name="T15" fmla="*/ 33 h 101"/>
                <a:gd name="T16" fmla="*/ 38 w 81"/>
                <a:gd name="T17" fmla="*/ 36 h 101"/>
                <a:gd name="T18" fmla="*/ 48 w 81"/>
                <a:gd name="T19" fmla="*/ 39 h 101"/>
                <a:gd name="T20" fmla="*/ 61 w 81"/>
                <a:gd name="T21" fmla="*/ 44 h 101"/>
                <a:gd name="T22" fmla="*/ 71 w 81"/>
                <a:gd name="T23" fmla="*/ 50 h 101"/>
                <a:gd name="T24" fmla="*/ 78 w 81"/>
                <a:gd name="T25" fmla="*/ 59 h 101"/>
                <a:gd name="T26" fmla="*/ 81 w 81"/>
                <a:gd name="T27" fmla="*/ 71 h 101"/>
                <a:gd name="T28" fmla="*/ 78 w 81"/>
                <a:gd name="T29" fmla="*/ 85 h 101"/>
                <a:gd name="T30" fmla="*/ 69 w 81"/>
                <a:gd name="T31" fmla="*/ 94 h 101"/>
                <a:gd name="T32" fmla="*/ 57 w 81"/>
                <a:gd name="T33" fmla="*/ 100 h 101"/>
                <a:gd name="T34" fmla="*/ 41 w 81"/>
                <a:gd name="T35" fmla="*/ 101 h 101"/>
                <a:gd name="T36" fmla="*/ 19 w 81"/>
                <a:gd name="T37" fmla="*/ 98 h 101"/>
                <a:gd name="T38" fmla="*/ 0 w 81"/>
                <a:gd name="T39" fmla="*/ 90 h 101"/>
                <a:gd name="T40" fmla="*/ 9 w 81"/>
                <a:gd name="T41" fmla="*/ 70 h 101"/>
                <a:gd name="T42" fmla="*/ 25 w 81"/>
                <a:gd name="T43" fmla="*/ 77 h 101"/>
                <a:gd name="T44" fmla="*/ 43 w 81"/>
                <a:gd name="T45" fmla="*/ 79 h 101"/>
                <a:gd name="T46" fmla="*/ 53 w 81"/>
                <a:gd name="T47" fmla="*/ 78 h 101"/>
                <a:gd name="T48" fmla="*/ 56 w 81"/>
                <a:gd name="T49" fmla="*/ 72 h 101"/>
                <a:gd name="T50" fmla="*/ 55 w 81"/>
                <a:gd name="T51" fmla="*/ 69 h 101"/>
                <a:gd name="T52" fmla="*/ 53 w 81"/>
                <a:gd name="T53" fmla="*/ 67 h 101"/>
                <a:gd name="T54" fmla="*/ 48 w 81"/>
                <a:gd name="T55" fmla="*/ 64 h 101"/>
                <a:gd name="T56" fmla="*/ 41 w 81"/>
                <a:gd name="T57" fmla="*/ 62 h 101"/>
                <a:gd name="T58" fmla="*/ 26 w 81"/>
                <a:gd name="T59" fmla="*/ 57 h 101"/>
                <a:gd name="T60" fmla="*/ 13 w 81"/>
                <a:gd name="T61" fmla="*/ 51 h 101"/>
                <a:gd name="T62" fmla="*/ 6 w 81"/>
                <a:gd name="T63" fmla="*/ 42 h 101"/>
                <a:gd name="T64" fmla="*/ 3 w 81"/>
                <a:gd name="T65" fmla="*/ 29 h 101"/>
                <a:gd name="T66" fmla="*/ 6 w 81"/>
                <a:gd name="T67" fmla="*/ 16 h 101"/>
                <a:gd name="T68" fmla="*/ 14 w 81"/>
                <a:gd name="T69" fmla="*/ 7 h 101"/>
                <a:gd name="T70" fmla="*/ 26 w 81"/>
                <a:gd name="T71" fmla="*/ 2 h 101"/>
                <a:gd name="T72" fmla="*/ 42 w 81"/>
                <a:gd name="T73" fmla="*/ 0 h 101"/>
                <a:gd name="T74" fmla="*/ 61 w 81"/>
                <a:gd name="T75" fmla="*/ 3 h 101"/>
                <a:gd name="T76" fmla="*/ 78 w 81"/>
                <a:gd name="T77" fmla="*/ 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81" h="101">
                  <a:moveTo>
                    <a:pt x="78" y="9"/>
                  </a:moveTo>
                  <a:cubicBezTo>
                    <a:pt x="70" y="30"/>
                    <a:pt x="70" y="30"/>
                    <a:pt x="70" y="30"/>
                  </a:cubicBezTo>
                  <a:cubicBezTo>
                    <a:pt x="65" y="27"/>
                    <a:pt x="60" y="25"/>
                    <a:pt x="55" y="24"/>
                  </a:cubicBezTo>
                  <a:cubicBezTo>
                    <a:pt x="50" y="22"/>
                    <a:pt x="45" y="22"/>
                    <a:pt x="41" y="22"/>
                  </a:cubicBezTo>
                  <a:cubicBezTo>
                    <a:pt x="37" y="22"/>
                    <a:pt x="34" y="22"/>
                    <a:pt x="31" y="23"/>
                  </a:cubicBezTo>
                  <a:cubicBezTo>
                    <a:pt x="29" y="24"/>
                    <a:pt x="28" y="26"/>
                    <a:pt x="28" y="28"/>
                  </a:cubicBezTo>
                  <a:cubicBezTo>
                    <a:pt x="28" y="29"/>
                    <a:pt x="29" y="30"/>
                    <a:pt x="29" y="31"/>
                  </a:cubicBezTo>
                  <a:cubicBezTo>
                    <a:pt x="29" y="32"/>
                    <a:pt x="30" y="32"/>
                    <a:pt x="32" y="33"/>
                  </a:cubicBezTo>
                  <a:cubicBezTo>
                    <a:pt x="33" y="34"/>
                    <a:pt x="35" y="35"/>
                    <a:pt x="38" y="36"/>
                  </a:cubicBezTo>
                  <a:cubicBezTo>
                    <a:pt x="41" y="37"/>
                    <a:pt x="44" y="38"/>
                    <a:pt x="48" y="39"/>
                  </a:cubicBezTo>
                  <a:cubicBezTo>
                    <a:pt x="53" y="41"/>
                    <a:pt x="57" y="42"/>
                    <a:pt x="61" y="44"/>
                  </a:cubicBezTo>
                  <a:cubicBezTo>
                    <a:pt x="65" y="46"/>
                    <a:pt x="68" y="48"/>
                    <a:pt x="71" y="50"/>
                  </a:cubicBezTo>
                  <a:cubicBezTo>
                    <a:pt x="74" y="52"/>
                    <a:pt x="76" y="55"/>
                    <a:pt x="78" y="59"/>
                  </a:cubicBezTo>
                  <a:cubicBezTo>
                    <a:pt x="80" y="62"/>
                    <a:pt x="81" y="66"/>
                    <a:pt x="81" y="71"/>
                  </a:cubicBezTo>
                  <a:cubicBezTo>
                    <a:pt x="81" y="76"/>
                    <a:pt x="80" y="81"/>
                    <a:pt x="78" y="85"/>
                  </a:cubicBezTo>
                  <a:cubicBezTo>
                    <a:pt x="76" y="89"/>
                    <a:pt x="73" y="92"/>
                    <a:pt x="69" y="94"/>
                  </a:cubicBezTo>
                  <a:cubicBezTo>
                    <a:pt x="66" y="97"/>
                    <a:pt x="61" y="98"/>
                    <a:pt x="57" y="100"/>
                  </a:cubicBezTo>
                  <a:cubicBezTo>
                    <a:pt x="52" y="101"/>
                    <a:pt x="47" y="101"/>
                    <a:pt x="41" y="101"/>
                  </a:cubicBezTo>
                  <a:cubicBezTo>
                    <a:pt x="34" y="101"/>
                    <a:pt x="26" y="100"/>
                    <a:pt x="19" y="98"/>
                  </a:cubicBezTo>
                  <a:cubicBezTo>
                    <a:pt x="12" y="96"/>
                    <a:pt x="6" y="93"/>
                    <a:pt x="0" y="90"/>
                  </a:cubicBezTo>
                  <a:cubicBezTo>
                    <a:pt x="9" y="70"/>
                    <a:pt x="9" y="70"/>
                    <a:pt x="9" y="70"/>
                  </a:cubicBezTo>
                  <a:cubicBezTo>
                    <a:pt x="14" y="73"/>
                    <a:pt x="20" y="76"/>
                    <a:pt x="25" y="77"/>
                  </a:cubicBezTo>
                  <a:cubicBezTo>
                    <a:pt x="31" y="79"/>
                    <a:pt x="36" y="79"/>
                    <a:pt x="43" y="79"/>
                  </a:cubicBezTo>
                  <a:cubicBezTo>
                    <a:pt x="47" y="79"/>
                    <a:pt x="51" y="79"/>
                    <a:pt x="53" y="78"/>
                  </a:cubicBezTo>
                  <a:cubicBezTo>
                    <a:pt x="55" y="76"/>
                    <a:pt x="56" y="75"/>
                    <a:pt x="56" y="72"/>
                  </a:cubicBezTo>
                  <a:cubicBezTo>
                    <a:pt x="56" y="71"/>
                    <a:pt x="55" y="70"/>
                    <a:pt x="55" y="69"/>
                  </a:cubicBezTo>
                  <a:cubicBezTo>
                    <a:pt x="54" y="68"/>
                    <a:pt x="54" y="67"/>
                    <a:pt x="53" y="67"/>
                  </a:cubicBezTo>
                  <a:cubicBezTo>
                    <a:pt x="51" y="66"/>
                    <a:pt x="50" y="65"/>
                    <a:pt x="48" y="64"/>
                  </a:cubicBezTo>
                  <a:cubicBezTo>
                    <a:pt x="46" y="64"/>
                    <a:pt x="44" y="63"/>
                    <a:pt x="41" y="62"/>
                  </a:cubicBezTo>
                  <a:cubicBezTo>
                    <a:pt x="36" y="60"/>
                    <a:pt x="30" y="59"/>
                    <a:pt x="26" y="57"/>
                  </a:cubicBezTo>
                  <a:cubicBezTo>
                    <a:pt x="21" y="55"/>
                    <a:pt x="17" y="53"/>
                    <a:pt x="13" y="51"/>
                  </a:cubicBezTo>
                  <a:cubicBezTo>
                    <a:pt x="10" y="48"/>
                    <a:pt x="8" y="45"/>
                    <a:pt x="6" y="42"/>
                  </a:cubicBezTo>
                  <a:cubicBezTo>
                    <a:pt x="4" y="38"/>
                    <a:pt x="3" y="34"/>
                    <a:pt x="3" y="29"/>
                  </a:cubicBezTo>
                  <a:cubicBezTo>
                    <a:pt x="3" y="24"/>
                    <a:pt x="4" y="19"/>
                    <a:pt x="6" y="16"/>
                  </a:cubicBezTo>
                  <a:cubicBezTo>
                    <a:pt x="8" y="12"/>
                    <a:pt x="10" y="9"/>
                    <a:pt x="14" y="7"/>
                  </a:cubicBezTo>
                  <a:cubicBezTo>
                    <a:pt x="17" y="4"/>
                    <a:pt x="21" y="3"/>
                    <a:pt x="26" y="2"/>
                  </a:cubicBezTo>
                  <a:cubicBezTo>
                    <a:pt x="31" y="0"/>
                    <a:pt x="36" y="0"/>
                    <a:pt x="42" y="0"/>
                  </a:cubicBezTo>
                  <a:cubicBezTo>
                    <a:pt x="48" y="0"/>
                    <a:pt x="54" y="1"/>
                    <a:pt x="61" y="3"/>
                  </a:cubicBezTo>
                  <a:cubicBezTo>
                    <a:pt x="67" y="4"/>
                    <a:pt x="73" y="7"/>
                    <a:pt x="78" y="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12">
              <a:extLst>
                <a:ext uri="{FF2B5EF4-FFF2-40B4-BE49-F238E27FC236}">
                  <a16:creationId xmlns:a16="http://schemas.microsoft.com/office/drawing/2014/main" id="{C17A032D-DB72-46B0-B4C8-EE8C8CC504F2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226000" y="1430515"/>
              <a:ext cx="58837" cy="69297"/>
            </a:xfrm>
            <a:custGeom>
              <a:avLst/>
              <a:gdLst>
                <a:gd name="T0" fmla="*/ 85 w 85"/>
                <a:gd name="T1" fmla="*/ 80 h 101"/>
                <a:gd name="T2" fmla="*/ 77 w 85"/>
                <a:gd name="T3" fmla="*/ 88 h 101"/>
                <a:gd name="T4" fmla="*/ 69 w 85"/>
                <a:gd name="T5" fmla="*/ 95 h 101"/>
                <a:gd name="T6" fmla="*/ 58 w 85"/>
                <a:gd name="T7" fmla="*/ 100 h 101"/>
                <a:gd name="T8" fmla="*/ 45 w 85"/>
                <a:gd name="T9" fmla="*/ 101 h 101"/>
                <a:gd name="T10" fmla="*/ 27 w 85"/>
                <a:gd name="T11" fmla="*/ 98 h 101"/>
                <a:gd name="T12" fmla="*/ 13 w 85"/>
                <a:gd name="T13" fmla="*/ 87 h 101"/>
                <a:gd name="T14" fmla="*/ 3 w 85"/>
                <a:gd name="T15" fmla="*/ 71 h 101"/>
                <a:gd name="T16" fmla="*/ 0 w 85"/>
                <a:gd name="T17" fmla="*/ 51 h 101"/>
                <a:gd name="T18" fmla="*/ 3 w 85"/>
                <a:gd name="T19" fmla="*/ 30 h 101"/>
                <a:gd name="T20" fmla="*/ 13 w 85"/>
                <a:gd name="T21" fmla="*/ 14 h 101"/>
                <a:gd name="T22" fmla="*/ 28 w 85"/>
                <a:gd name="T23" fmla="*/ 4 h 101"/>
                <a:gd name="T24" fmla="*/ 46 w 85"/>
                <a:gd name="T25" fmla="*/ 0 h 101"/>
                <a:gd name="T26" fmla="*/ 68 w 85"/>
                <a:gd name="T27" fmla="*/ 5 h 101"/>
                <a:gd name="T28" fmla="*/ 85 w 85"/>
                <a:gd name="T29" fmla="*/ 21 h 101"/>
                <a:gd name="T30" fmla="*/ 68 w 85"/>
                <a:gd name="T31" fmla="*/ 38 h 101"/>
                <a:gd name="T32" fmla="*/ 63 w 85"/>
                <a:gd name="T33" fmla="*/ 33 h 101"/>
                <a:gd name="T34" fmla="*/ 58 w 85"/>
                <a:gd name="T35" fmla="*/ 28 h 101"/>
                <a:gd name="T36" fmla="*/ 53 w 85"/>
                <a:gd name="T37" fmla="*/ 26 h 101"/>
                <a:gd name="T38" fmla="*/ 46 w 85"/>
                <a:gd name="T39" fmla="*/ 25 h 101"/>
                <a:gd name="T40" fmla="*/ 37 w 85"/>
                <a:gd name="T41" fmla="*/ 26 h 101"/>
                <a:gd name="T42" fmla="*/ 31 w 85"/>
                <a:gd name="T43" fmla="*/ 32 h 101"/>
                <a:gd name="T44" fmla="*/ 27 w 85"/>
                <a:gd name="T45" fmla="*/ 40 h 101"/>
                <a:gd name="T46" fmla="*/ 26 w 85"/>
                <a:gd name="T47" fmla="*/ 51 h 101"/>
                <a:gd name="T48" fmla="*/ 27 w 85"/>
                <a:gd name="T49" fmla="*/ 61 h 101"/>
                <a:gd name="T50" fmla="*/ 31 w 85"/>
                <a:gd name="T51" fmla="*/ 69 h 101"/>
                <a:gd name="T52" fmla="*/ 37 w 85"/>
                <a:gd name="T53" fmla="*/ 75 h 101"/>
                <a:gd name="T54" fmla="*/ 46 w 85"/>
                <a:gd name="T55" fmla="*/ 77 h 101"/>
                <a:gd name="T56" fmla="*/ 52 w 85"/>
                <a:gd name="T57" fmla="*/ 76 h 101"/>
                <a:gd name="T58" fmla="*/ 58 w 85"/>
                <a:gd name="T59" fmla="*/ 73 h 101"/>
                <a:gd name="T60" fmla="*/ 64 w 85"/>
                <a:gd name="T61" fmla="*/ 69 h 101"/>
                <a:gd name="T62" fmla="*/ 69 w 85"/>
                <a:gd name="T63" fmla="*/ 64 h 101"/>
                <a:gd name="T64" fmla="*/ 85 w 85"/>
                <a:gd name="T65" fmla="*/ 8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5" h="101">
                  <a:moveTo>
                    <a:pt x="85" y="80"/>
                  </a:moveTo>
                  <a:cubicBezTo>
                    <a:pt x="83" y="83"/>
                    <a:pt x="80" y="86"/>
                    <a:pt x="77" y="88"/>
                  </a:cubicBezTo>
                  <a:cubicBezTo>
                    <a:pt x="75" y="91"/>
                    <a:pt x="72" y="93"/>
                    <a:pt x="69" y="95"/>
                  </a:cubicBezTo>
                  <a:cubicBezTo>
                    <a:pt x="65" y="97"/>
                    <a:pt x="62" y="98"/>
                    <a:pt x="58" y="100"/>
                  </a:cubicBezTo>
                  <a:cubicBezTo>
                    <a:pt x="54" y="101"/>
                    <a:pt x="50" y="101"/>
                    <a:pt x="45" y="101"/>
                  </a:cubicBezTo>
                  <a:cubicBezTo>
                    <a:pt x="39" y="101"/>
                    <a:pt x="33" y="100"/>
                    <a:pt x="27" y="98"/>
                  </a:cubicBezTo>
                  <a:cubicBezTo>
                    <a:pt x="22" y="95"/>
                    <a:pt x="17" y="92"/>
                    <a:pt x="13" y="87"/>
                  </a:cubicBezTo>
                  <a:cubicBezTo>
                    <a:pt x="9" y="83"/>
                    <a:pt x="5" y="77"/>
                    <a:pt x="3" y="71"/>
                  </a:cubicBezTo>
                  <a:cubicBezTo>
                    <a:pt x="1" y="65"/>
                    <a:pt x="0" y="58"/>
                    <a:pt x="0" y="51"/>
                  </a:cubicBezTo>
                  <a:cubicBezTo>
                    <a:pt x="0" y="43"/>
                    <a:pt x="1" y="36"/>
                    <a:pt x="3" y="30"/>
                  </a:cubicBezTo>
                  <a:cubicBezTo>
                    <a:pt x="5" y="24"/>
                    <a:pt x="9" y="19"/>
                    <a:pt x="13" y="14"/>
                  </a:cubicBezTo>
                  <a:cubicBezTo>
                    <a:pt x="17" y="10"/>
                    <a:pt x="22" y="6"/>
                    <a:pt x="28" y="4"/>
                  </a:cubicBezTo>
                  <a:cubicBezTo>
                    <a:pt x="33" y="1"/>
                    <a:pt x="39" y="0"/>
                    <a:pt x="46" y="0"/>
                  </a:cubicBezTo>
                  <a:cubicBezTo>
                    <a:pt x="54" y="0"/>
                    <a:pt x="62" y="2"/>
                    <a:pt x="68" y="5"/>
                  </a:cubicBezTo>
                  <a:cubicBezTo>
                    <a:pt x="74" y="9"/>
                    <a:pt x="80" y="14"/>
                    <a:pt x="85" y="21"/>
                  </a:cubicBezTo>
                  <a:cubicBezTo>
                    <a:pt x="68" y="38"/>
                    <a:pt x="68" y="38"/>
                    <a:pt x="68" y="38"/>
                  </a:cubicBezTo>
                  <a:cubicBezTo>
                    <a:pt x="66" y="36"/>
                    <a:pt x="65" y="35"/>
                    <a:pt x="63" y="33"/>
                  </a:cubicBezTo>
                  <a:cubicBezTo>
                    <a:pt x="62" y="31"/>
                    <a:pt x="60" y="30"/>
                    <a:pt x="58" y="28"/>
                  </a:cubicBezTo>
                  <a:cubicBezTo>
                    <a:pt x="57" y="27"/>
                    <a:pt x="55" y="26"/>
                    <a:pt x="53" y="26"/>
                  </a:cubicBezTo>
                  <a:cubicBezTo>
                    <a:pt x="51" y="25"/>
                    <a:pt x="48" y="25"/>
                    <a:pt x="46" y="25"/>
                  </a:cubicBezTo>
                  <a:cubicBezTo>
                    <a:pt x="43" y="25"/>
                    <a:pt x="40" y="25"/>
                    <a:pt x="37" y="26"/>
                  </a:cubicBezTo>
                  <a:cubicBezTo>
                    <a:pt x="35" y="28"/>
                    <a:pt x="33" y="29"/>
                    <a:pt x="31" y="32"/>
                  </a:cubicBezTo>
                  <a:cubicBezTo>
                    <a:pt x="29" y="34"/>
                    <a:pt x="28" y="37"/>
                    <a:pt x="27" y="40"/>
                  </a:cubicBezTo>
                  <a:cubicBezTo>
                    <a:pt x="26" y="43"/>
                    <a:pt x="26" y="47"/>
                    <a:pt x="26" y="51"/>
                  </a:cubicBezTo>
                  <a:cubicBezTo>
                    <a:pt x="26" y="55"/>
                    <a:pt x="26" y="58"/>
                    <a:pt x="27" y="61"/>
                  </a:cubicBezTo>
                  <a:cubicBezTo>
                    <a:pt x="28" y="64"/>
                    <a:pt x="29" y="67"/>
                    <a:pt x="31" y="69"/>
                  </a:cubicBezTo>
                  <a:cubicBezTo>
                    <a:pt x="33" y="72"/>
                    <a:pt x="35" y="73"/>
                    <a:pt x="37" y="75"/>
                  </a:cubicBezTo>
                  <a:cubicBezTo>
                    <a:pt x="40" y="76"/>
                    <a:pt x="43" y="77"/>
                    <a:pt x="46" y="77"/>
                  </a:cubicBezTo>
                  <a:cubicBezTo>
                    <a:pt x="48" y="77"/>
                    <a:pt x="50" y="76"/>
                    <a:pt x="52" y="76"/>
                  </a:cubicBezTo>
                  <a:cubicBezTo>
                    <a:pt x="55" y="75"/>
                    <a:pt x="57" y="74"/>
                    <a:pt x="58" y="73"/>
                  </a:cubicBezTo>
                  <a:cubicBezTo>
                    <a:pt x="60" y="72"/>
                    <a:pt x="62" y="71"/>
                    <a:pt x="64" y="69"/>
                  </a:cubicBezTo>
                  <a:cubicBezTo>
                    <a:pt x="65" y="68"/>
                    <a:pt x="67" y="66"/>
                    <a:pt x="69" y="64"/>
                  </a:cubicBezTo>
                  <a:lnTo>
                    <a:pt x="85" y="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25" name="Freeform 13">
              <a:extLst>
                <a:ext uri="{FF2B5EF4-FFF2-40B4-BE49-F238E27FC236}">
                  <a16:creationId xmlns:a16="http://schemas.microsoft.com/office/drawing/2014/main" id="{2280FDE2-015D-4B7A-8900-05F5FB783060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297911" y="1406980"/>
              <a:ext cx="57529" cy="91524"/>
            </a:xfrm>
            <a:custGeom>
              <a:avLst/>
              <a:gdLst>
                <a:gd name="T0" fmla="*/ 59 w 84"/>
                <a:gd name="T1" fmla="*/ 135 h 135"/>
                <a:gd name="T2" fmla="*/ 59 w 84"/>
                <a:gd name="T3" fmla="*/ 83 h 135"/>
                <a:gd name="T4" fmla="*/ 55 w 84"/>
                <a:gd name="T5" fmla="*/ 66 h 135"/>
                <a:gd name="T6" fmla="*/ 42 w 84"/>
                <a:gd name="T7" fmla="*/ 60 h 135"/>
                <a:gd name="T8" fmla="*/ 35 w 84"/>
                <a:gd name="T9" fmla="*/ 61 h 135"/>
                <a:gd name="T10" fmla="*/ 30 w 84"/>
                <a:gd name="T11" fmla="*/ 65 h 135"/>
                <a:gd name="T12" fmla="*/ 27 w 84"/>
                <a:gd name="T13" fmla="*/ 71 h 135"/>
                <a:gd name="T14" fmla="*/ 25 w 84"/>
                <a:gd name="T15" fmla="*/ 82 h 135"/>
                <a:gd name="T16" fmla="*/ 25 w 84"/>
                <a:gd name="T17" fmla="*/ 135 h 135"/>
                <a:gd name="T18" fmla="*/ 0 w 84"/>
                <a:gd name="T19" fmla="*/ 135 h 135"/>
                <a:gd name="T20" fmla="*/ 0 w 84"/>
                <a:gd name="T21" fmla="*/ 13 h 135"/>
                <a:gd name="T22" fmla="*/ 25 w 84"/>
                <a:gd name="T23" fmla="*/ 0 h 135"/>
                <a:gd name="T24" fmla="*/ 25 w 84"/>
                <a:gd name="T25" fmla="*/ 44 h 135"/>
                <a:gd name="T26" fmla="*/ 29 w 84"/>
                <a:gd name="T27" fmla="*/ 41 h 135"/>
                <a:gd name="T28" fmla="*/ 35 w 84"/>
                <a:gd name="T29" fmla="*/ 38 h 135"/>
                <a:gd name="T30" fmla="*/ 41 w 84"/>
                <a:gd name="T31" fmla="*/ 37 h 135"/>
                <a:gd name="T32" fmla="*/ 48 w 84"/>
                <a:gd name="T33" fmla="*/ 36 h 135"/>
                <a:gd name="T34" fmla="*/ 64 w 84"/>
                <a:gd name="T35" fmla="*/ 39 h 135"/>
                <a:gd name="T36" fmla="*/ 75 w 84"/>
                <a:gd name="T37" fmla="*/ 48 h 135"/>
                <a:gd name="T38" fmla="*/ 82 w 84"/>
                <a:gd name="T39" fmla="*/ 62 h 135"/>
                <a:gd name="T40" fmla="*/ 84 w 84"/>
                <a:gd name="T41" fmla="*/ 80 h 135"/>
                <a:gd name="T42" fmla="*/ 84 w 84"/>
                <a:gd name="T43" fmla="*/ 135 h 135"/>
                <a:gd name="T44" fmla="*/ 59 w 84"/>
                <a:gd name="T45" fmla="*/ 135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4" h="135">
                  <a:moveTo>
                    <a:pt x="59" y="135"/>
                  </a:moveTo>
                  <a:cubicBezTo>
                    <a:pt x="59" y="83"/>
                    <a:pt x="59" y="83"/>
                    <a:pt x="59" y="83"/>
                  </a:cubicBezTo>
                  <a:cubicBezTo>
                    <a:pt x="59" y="75"/>
                    <a:pt x="57" y="69"/>
                    <a:pt x="55" y="66"/>
                  </a:cubicBezTo>
                  <a:cubicBezTo>
                    <a:pt x="52" y="62"/>
                    <a:pt x="48" y="60"/>
                    <a:pt x="42" y="60"/>
                  </a:cubicBezTo>
                  <a:cubicBezTo>
                    <a:pt x="39" y="60"/>
                    <a:pt x="37" y="60"/>
                    <a:pt x="35" y="61"/>
                  </a:cubicBezTo>
                  <a:cubicBezTo>
                    <a:pt x="33" y="62"/>
                    <a:pt x="31" y="63"/>
                    <a:pt x="30" y="65"/>
                  </a:cubicBezTo>
                  <a:cubicBezTo>
                    <a:pt x="28" y="66"/>
                    <a:pt x="27" y="69"/>
                    <a:pt x="27" y="71"/>
                  </a:cubicBezTo>
                  <a:cubicBezTo>
                    <a:pt x="26" y="74"/>
                    <a:pt x="25" y="78"/>
                    <a:pt x="25" y="82"/>
                  </a:cubicBezTo>
                  <a:cubicBezTo>
                    <a:pt x="25" y="135"/>
                    <a:pt x="25" y="135"/>
                    <a:pt x="25" y="135"/>
                  </a:cubicBezTo>
                  <a:cubicBezTo>
                    <a:pt x="0" y="135"/>
                    <a:pt x="0" y="135"/>
                    <a:pt x="0" y="135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44"/>
                    <a:pt x="25" y="44"/>
                    <a:pt x="25" y="44"/>
                  </a:cubicBezTo>
                  <a:cubicBezTo>
                    <a:pt x="27" y="43"/>
                    <a:pt x="28" y="42"/>
                    <a:pt x="29" y="41"/>
                  </a:cubicBezTo>
                  <a:cubicBezTo>
                    <a:pt x="31" y="40"/>
                    <a:pt x="33" y="39"/>
                    <a:pt x="35" y="38"/>
                  </a:cubicBezTo>
                  <a:cubicBezTo>
                    <a:pt x="37" y="38"/>
                    <a:pt x="39" y="37"/>
                    <a:pt x="41" y="37"/>
                  </a:cubicBezTo>
                  <a:cubicBezTo>
                    <a:pt x="43" y="36"/>
                    <a:pt x="46" y="36"/>
                    <a:pt x="48" y="36"/>
                  </a:cubicBezTo>
                  <a:cubicBezTo>
                    <a:pt x="54" y="36"/>
                    <a:pt x="60" y="37"/>
                    <a:pt x="64" y="39"/>
                  </a:cubicBezTo>
                  <a:cubicBezTo>
                    <a:pt x="69" y="41"/>
                    <a:pt x="73" y="44"/>
                    <a:pt x="75" y="48"/>
                  </a:cubicBezTo>
                  <a:cubicBezTo>
                    <a:pt x="78" y="52"/>
                    <a:pt x="81" y="56"/>
                    <a:pt x="82" y="62"/>
                  </a:cubicBezTo>
                  <a:cubicBezTo>
                    <a:pt x="83" y="67"/>
                    <a:pt x="84" y="74"/>
                    <a:pt x="84" y="80"/>
                  </a:cubicBezTo>
                  <a:cubicBezTo>
                    <a:pt x="84" y="135"/>
                    <a:pt x="84" y="135"/>
                    <a:pt x="84" y="135"/>
                  </a:cubicBezTo>
                  <a:lnTo>
                    <a:pt x="59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26" name="Freeform 14">
              <a:extLst>
                <a:ext uri="{FF2B5EF4-FFF2-40B4-BE49-F238E27FC236}">
                  <a16:creationId xmlns:a16="http://schemas.microsoft.com/office/drawing/2014/main" id="{D3D1BB3D-6AD6-4BE1-893D-EBCB285005E9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372438" y="1406980"/>
              <a:ext cx="16998" cy="91524"/>
            </a:xfrm>
            <a:custGeom>
              <a:avLst/>
              <a:gdLst>
                <a:gd name="T0" fmla="*/ 0 w 13"/>
                <a:gd name="T1" fmla="*/ 70 h 70"/>
                <a:gd name="T2" fmla="*/ 0 w 13"/>
                <a:gd name="T3" fmla="*/ 6 h 70"/>
                <a:gd name="T4" fmla="*/ 13 w 13"/>
                <a:gd name="T5" fmla="*/ 0 h 70"/>
                <a:gd name="T6" fmla="*/ 13 w 13"/>
                <a:gd name="T7" fmla="*/ 70 h 70"/>
                <a:gd name="T8" fmla="*/ 0 w 13"/>
                <a:gd name="T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70">
                  <a:moveTo>
                    <a:pt x="0" y="70"/>
                  </a:moveTo>
                  <a:lnTo>
                    <a:pt x="0" y="6"/>
                  </a:lnTo>
                  <a:lnTo>
                    <a:pt x="13" y="0"/>
                  </a:lnTo>
                  <a:lnTo>
                    <a:pt x="13" y="70"/>
                  </a:lnTo>
                  <a:lnTo>
                    <a:pt x="0" y="7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27" name="Freeform 15">
              <a:extLst>
                <a:ext uri="{FF2B5EF4-FFF2-40B4-BE49-F238E27FC236}">
                  <a16:creationId xmlns:a16="http://schemas.microsoft.com/office/drawing/2014/main" id="{98B7DF92-85DC-454B-9A4B-F9A35E6A3C3A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10403818" y="1430515"/>
              <a:ext cx="57529" cy="69297"/>
            </a:xfrm>
            <a:custGeom>
              <a:avLst/>
              <a:gdLst>
                <a:gd name="T0" fmla="*/ 58 w 83"/>
                <a:gd name="T1" fmla="*/ 99 h 101"/>
                <a:gd name="T2" fmla="*/ 58 w 83"/>
                <a:gd name="T3" fmla="*/ 93 h 101"/>
                <a:gd name="T4" fmla="*/ 54 w 83"/>
                <a:gd name="T5" fmla="*/ 96 h 101"/>
                <a:gd name="T6" fmla="*/ 49 w 83"/>
                <a:gd name="T7" fmla="*/ 99 h 101"/>
                <a:gd name="T8" fmla="*/ 42 w 83"/>
                <a:gd name="T9" fmla="*/ 101 h 101"/>
                <a:gd name="T10" fmla="*/ 36 w 83"/>
                <a:gd name="T11" fmla="*/ 101 h 101"/>
                <a:gd name="T12" fmla="*/ 23 w 83"/>
                <a:gd name="T13" fmla="*/ 99 h 101"/>
                <a:gd name="T14" fmla="*/ 11 w 83"/>
                <a:gd name="T15" fmla="*/ 93 h 101"/>
                <a:gd name="T16" fmla="*/ 3 w 83"/>
                <a:gd name="T17" fmla="*/ 82 h 101"/>
                <a:gd name="T18" fmla="*/ 0 w 83"/>
                <a:gd name="T19" fmla="*/ 67 h 101"/>
                <a:gd name="T20" fmla="*/ 3 w 83"/>
                <a:gd name="T21" fmla="*/ 53 h 101"/>
                <a:gd name="T22" fmla="*/ 11 w 83"/>
                <a:gd name="T23" fmla="*/ 42 h 101"/>
                <a:gd name="T24" fmla="*/ 24 w 83"/>
                <a:gd name="T25" fmla="*/ 36 h 101"/>
                <a:gd name="T26" fmla="*/ 39 w 83"/>
                <a:gd name="T27" fmla="*/ 34 h 101"/>
                <a:gd name="T28" fmla="*/ 50 w 83"/>
                <a:gd name="T29" fmla="*/ 36 h 101"/>
                <a:gd name="T30" fmla="*/ 58 w 83"/>
                <a:gd name="T31" fmla="*/ 38 h 101"/>
                <a:gd name="T32" fmla="*/ 58 w 83"/>
                <a:gd name="T33" fmla="*/ 33 h 101"/>
                <a:gd name="T34" fmla="*/ 54 w 83"/>
                <a:gd name="T35" fmla="*/ 25 h 101"/>
                <a:gd name="T36" fmla="*/ 44 w 83"/>
                <a:gd name="T37" fmla="*/ 21 h 101"/>
                <a:gd name="T38" fmla="*/ 30 w 83"/>
                <a:gd name="T39" fmla="*/ 22 h 101"/>
                <a:gd name="T40" fmla="*/ 17 w 83"/>
                <a:gd name="T41" fmla="*/ 27 h 101"/>
                <a:gd name="T42" fmla="*/ 7 w 83"/>
                <a:gd name="T43" fmla="*/ 10 h 101"/>
                <a:gd name="T44" fmla="*/ 25 w 83"/>
                <a:gd name="T45" fmla="*/ 2 h 101"/>
                <a:gd name="T46" fmla="*/ 44 w 83"/>
                <a:gd name="T47" fmla="*/ 0 h 101"/>
                <a:gd name="T48" fmla="*/ 60 w 83"/>
                <a:gd name="T49" fmla="*/ 2 h 101"/>
                <a:gd name="T50" fmla="*/ 72 w 83"/>
                <a:gd name="T51" fmla="*/ 9 h 101"/>
                <a:gd name="T52" fmla="*/ 80 w 83"/>
                <a:gd name="T53" fmla="*/ 19 h 101"/>
                <a:gd name="T54" fmla="*/ 83 w 83"/>
                <a:gd name="T55" fmla="*/ 34 h 101"/>
                <a:gd name="T56" fmla="*/ 83 w 83"/>
                <a:gd name="T57" fmla="*/ 99 h 101"/>
                <a:gd name="T58" fmla="*/ 58 w 83"/>
                <a:gd name="T59" fmla="*/ 99 h 101"/>
                <a:gd name="T60" fmla="*/ 58 w 83"/>
                <a:gd name="T61" fmla="*/ 58 h 101"/>
                <a:gd name="T62" fmla="*/ 54 w 83"/>
                <a:gd name="T63" fmla="*/ 57 h 101"/>
                <a:gd name="T64" fmla="*/ 51 w 83"/>
                <a:gd name="T65" fmla="*/ 55 h 101"/>
                <a:gd name="T66" fmla="*/ 46 w 83"/>
                <a:gd name="T67" fmla="*/ 55 h 101"/>
                <a:gd name="T68" fmla="*/ 40 w 83"/>
                <a:gd name="T69" fmla="*/ 54 h 101"/>
                <a:gd name="T70" fmla="*/ 29 w 83"/>
                <a:gd name="T71" fmla="*/ 58 h 101"/>
                <a:gd name="T72" fmla="*/ 25 w 83"/>
                <a:gd name="T73" fmla="*/ 67 h 101"/>
                <a:gd name="T74" fmla="*/ 26 w 83"/>
                <a:gd name="T75" fmla="*/ 71 h 101"/>
                <a:gd name="T76" fmla="*/ 28 w 83"/>
                <a:gd name="T77" fmla="*/ 76 h 101"/>
                <a:gd name="T78" fmla="*/ 33 w 83"/>
                <a:gd name="T79" fmla="*/ 78 h 101"/>
                <a:gd name="T80" fmla="*/ 40 w 83"/>
                <a:gd name="T81" fmla="*/ 80 h 101"/>
                <a:gd name="T82" fmla="*/ 46 w 83"/>
                <a:gd name="T83" fmla="*/ 79 h 101"/>
                <a:gd name="T84" fmla="*/ 51 w 83"/>
                <a:gd name="T85" fmla="*/ 77 h 101"/>
                <a:gd name="T86" fmla="*/ 55 w 83"/>
                <a:gd name="T87" fmla="*/ 74 h 101"/>
                <a:gd name="T88" fmla="*/ 58 w 83"/>
                <a:gd name="T89" fmla="*/ 71 h 101"/>
                <a:gd name="T90" fmla="*/ 58 w 83"/>
                <a:gd name="T91" fmla="*/ 5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83" h="101">
                  <a:moveTo>
                    <a:pt x="58" y="99"/>
                  </a:moveTo>
                  <a:cubicBezTo>
                    <a:pt x="58" y="93"/>
                    <a:pt x="58" y="93"/>
                    <a:pt x="58" y="93"/>
                  </a:cubicBezTo>
                  <a:cubicBezTo>
                    <a:pt x="57" y="94"/>
                    <a:pt x="55" y="95"/>
                    <a:pt x="54" y="96"/>
                  </a:cubicBezTo>
                  <a:cubicBezTo>
                    <a:pt x="52" y="97"/>
                    <a:pt x="51" y="98"/>
                    <a:pt x="49" y="99"/>
                  </a:cubicBezTo>
                  <a:cubicBezTo>
                    <a:pt x="47" y="100"/>
                    <a:pt x="44" y="100"/>
                    <a:pt x="42" y="101"/>
                  </a:cubicBezTo>
                  <a:cubicBezTo>
                    <a:pt x="40" y="101"/>
                    <a:pt x="38" y="101"/>
                    <a:pt x="36" y="101"/>
                  </a:cubicBezTo>
                  <a:cubicBezTo>
                    <a:pt x="31" y="101"/>
                    <a:pt x="27" y="100"/>
                    <a:pt x="23" y="99"/>
                  </a:cubicBezTo>
                  <a:cubicBezTo>
                    <a:pt x="18" y="98"/>
                    <a:pt x="14" y="96"/>
                    <a:pt x="11" y="93"/>
                  </a:cubicBezTo>
                  <a:cubicBezTo>
                    <a:pt x="8" y="90"/>
                    <a:pt x="5" y="86"/>
                    <a:pt x="3" y="82"/>
                  </a:cubicBezTo>
                  <a:cubicBezTo>
                    <a:pt x="1" y="78"/>
                    <a:pt x="0" y="73"/>
                    <a:pt x="0" y="67"/>
                  </a:cubicBezTo>
                  <a:cubicBezTo>
                    <a:pt x="0" y="61"/>
                    <a:pt x="1" y="57"/>
                    <a:pt x="3" y="53"/>
                  </a:cubicBezTo>
                  <a:cubicBezTo>
                    <a:pt x="5" y="48"/>
                    <a:pt x="8" y="45"/>
                    <a:pt x="11" y="42"/>
                  </a:cubicBezTo>
                  <a:cubicBezTo>
                    <a:pt x="15" y="40"/>
                    <a:pt x="19" y="38"/>
                    <a:pt x="24" y="36"/>
                  </a:cubicBezTo>
                  <a:cubicBezTo>
                    <a:pt x="28" y="35"/>
                    <a:pt x="33" y="34"/>
                    <a:pt x="39" y="34"/>
                  </a:cubicBezTo>
                  <a:cubicBezTo>
                    <a:pt x="43" y="34"/>
                    <a:pt x="47" y="35"/>
                    <a:pt x="50" y="36"/>
                  </a:cubicBezTo>
                  <a:cubicBezTo>
                    <a:pt x="53" y="36"/>
                    <a:pt x="56" y="37"/>
                    <a:pt x="58" y="38"/>
                  </a:cubicBezTo>
                  <a:cubicBezTo>
                    <a:pt x="58" y="33"/>
                    <a:pt x="58" y="33"/>
                    <a:pt x="58" y="33"/>
                  </a:cubicBezTo>
                  <a:cubicBezTo>
                    <a:pt x="58" y="30"/>
                    <a:pt x="56" y="27"/>
                    <a:pt x="54" y="25"/>
                  </a:cubicBezTo>
                  <a:cubicBezTo>
                    <a:pt x="52" y="22"/>
                    <a:pt x="48" y="21"/>
                    <a:pt x="44" y="21"/>
                  </a:cubicBezTo>
                  <a:cubicBezTo>
                    <a:pt x="38" y="21"/>
                    <a:pt x="33" y="21"/>
                    <a:pt x="30" y="22"/>
                  </a:cubicBezTo>
                  <a:cubicBezTo>
                    <a:pt x="26" y="23"/>
                    <a:pt x="22" y="25"/>
                    <a:pt x="17" y="27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14" y="6"/>
                    <a:pt x="19" y="4"/>
                    <a:pt x="25" y="2"/>
                  </a:cubicBezTo>
                  <a:cubicBezTo>
                    <a:pt x="30" y="1"/>
                    <a:pt x="37" y="0"/>
                    <a:pt x="44" y="0"/>
                  </a:cubicBezTo>
                  <a:cubicBezTo>
                    <a:pt x="50" y="0"/>
                    <a:pt x="55" y="1"/>
                    <a:pt x="60" y="2"/>
                  </a:cubicBezTo>
                  <a:cubicBezTo>
                    <a:pt x="65" y="4"/>
                    <a:pt x="69" y="6"/>
                    <a:pt x="72" y="9"/>
                  </a:cubicBezTo>
                  <a:cubicBezTo>
                    <a:pt x="76" y="12"/>
                    <a:pt x="79" y="15"/>
                    <a:pt x="80" y="19"/>
                  </a:cubicBezTo>
                  <a:cubicBezTo>
                    <a:pt x="82" y="24"/>
                    <a:pt x="83" y="29"/>
                    <a:pt x="83" y="34"/>
                  </a:cubicBezTo>
                  <a:cubicBezTo>
                    <a:pt x="83" y="99"/>
                    <a:pt x="83" y="99"/>
                    <a:pt x="83" y="99"/>
                  </a:cubicBezTo>
                  <a:lnTo>
                    <a:pt x="58" y="99"/>
                  </a:lnTo>
                  <a:close/>
                  <a:moveTo>
                    <a:pt x="58" y="58"/>
                  </a:moveTo>
                  <a:cubicBezTo>
                    <a:pt x="57" y="58"/>
                    <a:pt x="55" y="57"/>
                    <a:pt x="54" y="57"/>
                  </a:cubicBezTo>
                  <a:cubicBezTo>
                    <a:pt x="53" y="56"/>
                    <a:pt x="52" y="56"/>
                    <a:pt x="51" y="55"/>
                  </a:cubicBezTo>
                  <a:cubicBezTo>
                    <a:pt x="49" y="55"/>
                    <a:pt x="48" y="55"/>
                    <a:pt x="46" y="55"/>
                  </a:cubicBezTo>
                  <a:cubicBezTo>
                    <a:pt x="44" y="54"/>
                    <a:pt x="42" y="54"/>
                    <a:pt x="40" y="54"/>
                  </a:cubicBezTo>
                  <a:cubicBezTo>
                    <a:pt x="35" y="54"/>
                    <a:pt x="31" y="55"/>
                    <a:pt x="29" y="58"/>
                  </a:cubicBezTo>
                  <a:cubicBezTo>
                    <a:pt x="26" y="60"/>
                    <a:pt x="25" y="63"/>
                    <a:pt x="25" y="67"/>
                  </a:cubicBezTo>
                  <a:cubicBezTo>
                    <a:pt x="25" y="68"/>
                    <a:pt x="25" y="70"/>
                    <a:pt x="26" y="71"/>
                  </a:cubicBezTo>
                  <a:cubicBezTo>
                    <a:pt x="26" y="73"/>
                    <a:pt x="27" y="74"/>
                    <a:pt x="28" y="76"/>
                  </a:cubicBezTo>
                  <a:cubicBezTo>
                    <a:pt x="30" y="77"/>
                    <a:pt x="31" y="78"/>
                    <a:pt x="33" y="78"/>
                  </a:cubicBezTo>
                  <a:cubicBezTo>
                    <a:pt x="35" y="79"/>
                    <a:pt x="37" y="80"/>
                    <a:pt x="40" y="80"/>
                  </a:cubicBezTo>
                  <a:cubicBezTo>
                    <a:pt x="42" y="80"/>
                    <a:pt x="44" y="79"/>
                    <a:pt x="46" y="79"/>
                  </a:cubicBezTo>
                  <a:cubicBezTo>
                    <a:pt x="48" y="78"/>
                    <a:pt x="49" y="78"/>
                    <a:pt x="51" y="77"/>
                  </a:cubicBezTo>
                  <a:cubicBezTo>
                    <a:pt x="52" y="76"/>
                    <a:pt x="54" y="75"/>
                    <a:pt x="55" y="74"/>
                  </a:cubicBezTo>
                  <a:cubicBezTo>
                    <a:pt x="56" y="73"/>
                    <a:pt x="57" y="72"/>
                    <a:pt x="58" y="71"/>
                  </a:cubicBezTo>
                  <a:lnTo>
                    <a:pt x="58" y="5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28" name="Freeform 16">
              <a:extLst>
                <a:ext uri="{FF2B5EF4-FFF2-40B4-BE49-F238E27FC236}">
                  <a16:creationId xmlns:a16="http://schemas.microsoft.com/office/drawing/2014/main" id="{42944BA6-F9C0-48FA-B96D-E1DF6E30FA74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477037" y="1430515"/>
              <a:ext cx="57529" cy="67989"/>
            </a:xfrm>
            <a:custGeom>
              <a:avLst/>
              <a:gdLst>
                <a:gd name="T0" fmla="*/ 59 w 84"/>
                <a:gd name="T1" fmla="*/ 99 h 99"/>
                <a:gd name="T2" fmla="*/ 59 w 84"/>
                <a:gd name="T3" fmla="*/ 47 h 99"/>
                <a:gd name="T4" fmla="*/ 55 w 84"/>
                <a:gd name="T5" fmla="*/ 30 h 99"/>
                <a:gd name="T6" fmla="*/ 42 w 84"/>
                <a:gd name="T7" fmla="*/ 24 h 99"/>
                <a:gd name="T8" fmla="*/ 35 w 84"/>
                <a:gd name="T9" fmla="*/ 25 h 99"/>
                <a:gd name="T10" fmla="*/ 30 w 84"/>
                <a:gd name="T11" fmla="*/ 29 h 99"/>
                <a:gd name="T12" fmla="*/ 27 w 84"/>
                <a:gd name="T13" fmla="*/ 35 h 99"/>
                <a:gd name="T14" fmla="*/ 26 w 84"/>
                <a:gd name="T15" fmla="*/ 46 h 99"/>
                <a:gd name="T16" fmla="*/ 26 w 84"/>
                <a:gd name="T17" fmla="*/ 99 h 99"/>
                <a:gd name="T18" fmla="*/ 0 w 84"/>
                <a:gd name="T19" fmla="*/ 99 h 99"/>
                <a:gd name="T20" fmla="*/ 0 w 84"/>
                <a:gd name="T21" fmla="*/ 2 h 99"/>
                <a:gd name="T22" fmla="*/ 26 w 84"/>
                <a:gd name="T23" fmla="*/ 2 h 99"/>
                <a:gd name="T24" fmla="*/ 26 w 84"/>
                <a:gd name="T25" fmla="*/ 8 h 99"/>
                <a:gd name="T26" fmla="*/ 30 w 84"/>
                <a:gd name="T27" fmla="*/ 5 h 99"/>
                <a:gd name="T28" fmla="*/ 35 w 84"/>
                <a:gd name="T29" fmla="*/ 2 h 99"/>
                <a:gd name="T30" fmla="*/ 41 w 84"/>
                <a:gd name="T31" fmla="*/ 1 h 99"/>
                <a:gd name="T32" fmla="*/ 48 w 84"/>
                <a:gd name="T33" fmla="*/ 0 h 99"/>
                <a:gd name="T34" fmla="*/ 64 w 84"/>
                <a:gd name="T35" fmla="*/ 3 h 99"/>
                <a:gd name="T36" fmla="*/ 76 w 84"/>
                <a:gd name="T37" fmla="*/ 12 h 99"/>
                <a:gd name="T38" fmla="*/ 82 w 84"/>
                <a:gd name="T39" fmla="*/ 26 h 99"/>
                <a:gd name="T40" fmla="*/ 84 w 84"/>
                <a:gd name="T41" fmla="*/ 44 h 99"/>
                <a:gd name="T42" fmla="*/ 84 w 84"/>
                <a:gd name="T43" fmla="*/ 99 h 99"/>
                <a:gd name="T44" fmla="*/ 59 w 84"/>
                <a:gd name="T45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4" h="99">
                  <a:moveTo>
                    <a:pt x="59" y="99"/>
                  </a:moveTo>
                  <a:cubicBezTo>
                    <a:pt x="59" y="47"/>
                    <a:pt x="59" y="47"/>
                    <a:pt x="59" y="47"/>
                  </a:cubicBezTo>
                  <a:cubicBezTo>
                    <a:pt x="59" y="39"/>
                    <a:pt x="58" y="33"/>
                    <a:pt x="55" y="30"/>
                  </a:cubicBezTo>
                  <a:cubicBezTo>
                    <a:pt x="53" y="26"/>
                    <a:pt x="48" y="24"/>
                    <a:pt x="42" y="24"/>
                  </a:cubicBezTo>
                  <a:cubicBezTo>
                    <a:pt x="40" y="24"/>
                    <a:pt x="37" y="24"/>
                    <a:pt x="35" y="25"/>
                  </a:cubicBezTo>
                  <a:cubicBezTo>
                    <a:pt x="33" y="26"/>
                    <a:pt x="31" y="27"/>
                    <a:pt x="30" y="29"/>
                  </a:cubicBezTo>
                  <a:cubicBezTo>
                    <a:pt x="29" y="30"/>
                    <a:pt x="28" y="33"/>
                    <a:pt x="27" y="35"/>
                  </a:cubicBezTo>
                  <a:cubicBezTo>
                    <a:pt x="26" y="38"/>
                    <a:pt x="26" y="42"/>
                    <a:pt x="26" y="46"/>
                  </a:cubicBezTo>
                  <a:cubicBezTo>
                    <a:pt x="26" y="99"/>
                    <a:pt x="26" y="99"/>
                    <a:pt x="26" y="99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7" y="7"/>
                    <a:pt x="28" y="6"/>
                    <a:pt x="30" y="5"/>
                  </a:cubicBezTo>
                  <a:cubicBezTo>
                    <a:pt x="31" y="4"/>
                    <a:pt x="33" y="3"/>
                    <a:pt x="35" y="2"/>
                  </a:cubicBezTo>
                  <a:cubicBezTo>
                    <a:pt x="37" y="2"/>
                    <a:pt x="39" y="1"/>
                    <a:pt x="41" y="1"/>
                  </a:cubicBezTo>
                  <a:cubicBezTo>
                    <a:pt x="44" y="0"/>
                    <a:pt x="46" y="0"/>
                    <a:pt x="48" y="0"/>
                  </a:cubicBezTo>
                  <a:cubicBezTo>
                    <a:pt x="55" y="0"/>
                    <a:pt x="60" y="1"/>
                    <a:pt x="64" y="3"/>
                  </a:cubicBezTo>
                  <a:cubicBezTo>
                    <a:pt x="69" y="5"/>
                    <a:pt x="73" y="8"/>
                    <a:pt x="76" y="12"/>
                  </a:cubicBezTo>
                  <a:cubicBezTo>
                    <a:pt x="79" y="16"/>
                    <a:pt x="81" y="20"/>
                    <a:pt x="82" y="26"/>
                  </a:cubicBezTo>
                  <a:cubicBezTo>
                    <a:pt x="84" y="31"/>
                    <a:pt x="84" y="38"/>
                    <a:pt x="84" y="44"/>
                  </a:cubicBezTo>
                  <a:cubicBezTo>
                    <a:pt x="84" y="99"/>
                    <a:pt x="84" y="99"/>
                    <a:pt x="84" y="99"/>
                  </a:cubicBezTo>
                  <a:lnTo>
                    <a:pt x="59" y="9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17">
              <a:extLst>
                <a:ext uri="{FF2B5EF4-FFF2-40B4-BE49-F238E27FC236}">
                  <a16:creationId xmlns:a16="http://schemas.microsoft.com/office/drawing/2014/main" id="{AD76CDEE-75C6-43F6-B367-6EF14BC3B7FE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10547642" y="1406980"/>
              <a:ext cx="57529" cy="92832"/>
            </a:xfrm>
            <a:custGeom>
              <a:avLst/>
              <a:gdLst>
                <a:gd name="T0" fmla="*/ 58 w 84"/>
                <a:gd name="T1" fmla="*/ 135 h 137"/>
                <a:gd name="T2" fmla="*/ 58 w 84"/>
                <a:gd name="T3" fmla="*/ 129 h 137"/>
                <a:gd name="T4" fmla="*/ 55 w 84"/>
                <a:gd name="T5" fmla="*/ 132 h 137"/>
                <a:gd name="T6" fmla="*/ 50 w 84"/>
                <a:gd name="T7" fmla="*/ 135 h 137"/>
                <a:gd name="T8" fmla="*/ 45 w 84"/>
                <a:gd name="T9" fmla="*/ 137 h 137"/>
                <a:gd name="T10" fmla="*/ 38 w 84"/>
                <a:gd name="T11" fmla="*/ 137 h 137"/>
                <a:gd name="T12" fmla="*/ 23 w 84"/>
                <a:gd name="T13" fmla="*/ 134 h 137"/>
                <a:gd name="T14" fmla="*/ 11 w 84"/>
                <a:gd name="T15" fmla="*/ 125 h 137"/>
                <a:gd name="T16" fmla="*/ 3 w 84"/>
                <a:gd name="T17" fmla="*/ 109 h 137"/>
                <a:gd name="T18" fmla="*/ 0 w 84"/>
                <a:gd name="T19" fmla="*/ 85 h 137"/>
                <a:gd name="T20" fmla="*/ 3 w 84"/>
                <a:gd name="T21" fmla="*/ 65 h 137"/>
                <a:gd name="T22" fmla="*/ 10 w 84"/>
                <a:gd name="T23" fmla="*/ 50 h 137"/>
                <a:gd name="T24" fmla="*/ 22 w 84"/>
                <a:gd name="T25" fmla="*/ 40 h 137"/>
                <a:gd name="T26" fmla="*/ 38 w 84"/>
                <a:gd name="T27" fmla="*/ 36 h 137"/>
                <a:gd name="T28" fmla="*/ 44 w 84"/>
                <a:gd name="T29" fmla="*/ 36 h 137"/>
                <a:gd name="T30" fmla="*/ 50 w 84"/>
                <a:gd name="T31" fmla="*/ 38 h 137"/>
                <a:gd name="T32" fmla="*/ 55 w 84"/>
                <a:gd name="T33" fmla="*/ 41 h 137"/>
                <a:gd name="T34" fmla="*/ 58 w 84"/>
                <a:gd name="T35" fmla="*/ 44 h 137"/>
                <a:gd name="T36" fmla="*/ 58 w 84"/>
                <a:gd name="T37" fmla="*/ 13 h 137"/>
                <a:gd name="T38" fmla="*/ 84 w 84"/>
                <a:gd name="T39" fmla="*/ 0 h 137"/>
                <a:gd name="T40" fmla="*/ 84 w 84"/>
                <a:gd name="T41" fmla="*/ 135 h 137"/>
                <a:gd name="T42" fmla="*/ 58 w 84"/>
                <a:gd name="T43" fmla="*/ 135 h 137"/>
                <a:gd name="T44" fmla="*/ 58 w 84"/>
                <a:gd name="T45" fmla="*/ 68 h 137"/>
                <a:gd name="T46" fmla="*/ 55 w 84"/>
                <a:gd name="T47" fmla="*/ 65 h 137"/>
                <a:gd name="T48" fmla="*/ 52 w 84"/>
                <a:gd name="T49" fmla="*/ 62 h 137"/>
                <a:gd name="T50" fmla="*/ 47 w 84"/>
                <a:gd name="T51" fmla="*/ 61 h 137"/>
                <a:gd name="T52" fmla="*/ 41 w 84"/>
                <a:gd name="T53" fmla="*/ 60 h 137"/>
                <a:gd name="T54" fmla="*/ 30 w 84"/>
                <a:gd name="T55" fmla="*/ 66 h 137"/>
                <a:gd name="T56" fmla="*/ 26 w 84"/>
                <a:gd name="T57" fmla="*/ 85 h 137"/>
                <a:gd name="T58" fmla="*/ 27 w 84"/>
                <a:gd name="T59" fmla="*/ 98 h 137"/>
                <a:gd name="T60" fmla="*/ 31 w 84"/>
                <a:gd name="T61" fmla="*/ 106 h 137"/>
                <a:gd name="T62" fmla="*/ 36 w 84"/>
                <a:gd name="T63" fmla="*/ 111 h 137"/>
                <a:gd name="T64" fmla="*/ 43 w 84"/>
                <a:gd name="T65" fmla="*/ 113 h 137"/>
                <a:gd name="T66" fmla="*/ 48 w 84"/>
                <a:gd name="T67" fmla="*/ 112 h 137"/>
                <a:gd name="T68" fmla="*/ 52 w 84"/>
                <a:gd name="T69" fmla="*/ 111 h 137"/>
                <a:gd name="T70" fmla="*/ 56 w 84"/>
                <a:gd name="T71" fmla="*/ 108 h 137"/>
                <a:gd name="T72" fmla="*/ 58 w 84"/>
                <a:gd name="T73" fmla="*/ 105 h 137"/>
                <a:gd name="T74" fmla="*/ 58 w 84"/>
                <a:gd name="T75" fmla="*/ 68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4" h="137">
                  <a:moveTo>
                    <a:pt x="58" y="135"/>
                  </a:moveTo>
                  <a:cubicBezTo>
                    <a:pt x="58" y="129"/>
                    <a:pt x="58" y="129"/>
                    <a:pt x="58" y="129"/>
                  </a:cubicBezTo>
                  <a:cubicBezTo>
                    <a:pt x="57" y="130"/>
                    <a:pt x="56" y="131"/>
                    <a:pt x="55" y="132"/>
                  </a:cubicBezTo>
                  <a:cubicBezTo>
                    <a:pt x="53" y="133"/>
                    <a:pt x="52" y="134"/>
                    <a:pt x="50" y="135"/>
                  </a:cubicBezTo>
                  <a:cubicBezTo>
                    <a:pt x="48" y="136"/>
                    <a:pt x="47" y="136"/>
                    <a:pt x="45" y="137"/>
                  </a:cubicBezTo>
                  <a:cubicBezTo>
                    <a:pt x="43" y="137"/>
                    <a:pt x="40" y="137"/>
                    <a:pt x="38" y="137"/>
                  </a:cubicBezTo>
                  <a:cubicBezTo>
                    <a:pt x="33" y="137"/>
                    <a:pt x="28" y="136"/>
                    <a:pt x="23" y="134"/>
                  </a:cubicBezTo>
                  <a:cubicBezTo>
                    <a:pt x="19" y="132"/>
                    <a:pt x="15" y="129"/>
                    <a:pt x="11" y="125"/>
                  </a:cubicBezTo>
                  <a:cubicBezTo>
                    <a:pt x="8" y="121"/>
                    <a:pt x="5" y="115"/>
                    <a:pt x="3" y="109"/>
                  </a:cubicBezTo>
                  <a:cubicBezTo>
                    <a:pt x="1" y="102"/>
                    <a:pt x="0" y="94"/>
                    <a:pt x="0" y="85"/>
                  </a:cubicBezTo>
                  <a:cubicBezTo>
                    <a:pt x="0" y="78"/>
                    <a:pt x="1" y="71"/>
                    <a:pt x="3" y="65"/>
                  </a:cubicBezTo>
                  <a:cubicBezTo>
                    <a:pt x="4" y="59"/>
                    <a:pt x="7" y="54"/>
                    <a:pt x="10" y="50"/>
                  </a:cubicBezTo>
                  <a:cubicBezTo>
                    <a:pt x="13" y="45"/>
                    <a:pt x="17" y="42"/>
                    <a:pt x="22" y="40"/>
                  </a:cubicBezTo>
                  <a:cubicBezTo>
                    <a:pt x="27" y="37"/>
                    <a:pt x="32" y="36"/>
                    <a:pt x="38" y="36"/>
                  </a:cubicBezTo>
                  <a:cubicBezTo>
                    <a:pt x="40" y="36"/>
                    <a:pt x="42" y="36"/>
                    <a:pt x="44" y="36"/>
                  </a:cubicBezTo>
                  <a:cubicBezTo>
                    <a:pt x="46" y="37"/>
                    <a:pt x="48" y="37"/>
                    <a:pt x="50" y="38"/>
                  </a:cubicBezTo>
                  <a:cubicBezTo>
                    <a:pt x="52" y="39"/>
                    <a:pt x="53" y="40"/>
                    <a:pt x="55" y="41"/>
                  </a:cubicBezTo>
                  <a:cubicBezTo>
                    <a:pt x="56" y="42"/>
                    <a:pt x="57" y="42"/>
                    <a:pt x="58" y="44"/>
                  </a:cubicBezTo>
                  <a:cubicBezTo>
                    <a:pt x="58" y="13"/>
                    <a:pt x="58" y="13"/>
                    <a:pt x="58" y="13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135"/>
                    <a:pt x="84" y="135"/>
                    <a:pt x="84" y="135"/>
                  </a:cubicBezTo>
                  <a:lnTo>
                    <a:pt x="58" y="135"/>
                  </a:lnTo>
                  <a:close/>
                  <a:moveTo>
                    <a:pt x="58" y="68"/>
                  </a:moveTo>
                  <a:cubicBezTo>
                    <a:pt x="57" y="67"/>
                    <a:pt x="56" y="66"/>
                    <a:pt x="55" y="65"/>
                  </a:cubicBezTo>
                  <a:cubicBezTo>
                    <a:pt x="54" y="64"/>
                    <a:pt x="53" y="63"/>
                    <a:pt x="52" y="62"/>
                  </a:cubicBezTo>
                  <a:cubicBezTo>
                    <a:pt x="50" y="62"/>
                    <a:pt x="49" y="61"/>
                    <a:pt x="47" y="61"/>
                  </a:cubicBezTo>
                  <a:cubicBezTo>
                    <a:pt x="45" y="60"/>
                    <a:pt x="43" y="60"/>
                    <a:pt x="41" y="60"/>
                  </a:cubicBezTo>
                  <a:cubicBezTo>
                    <a:pt x="36" y="60"/>
                    <a:pt x="33" y="62"/>
                    <a:pt x="30" y="66"/>
                  </a:cubicBezTo>
                  <a:cubicBezTo>
                    <a:pt x="27" y="70"/>
                    <a:pt x="26" y="77"/>
                    <a:pt x="26" y="85"/>
                  </a:cubicBezTo>
                  <a:cubicBezTo>
                    <a:pt x="26" y="90"/>
                    <a:pt x="27" y="94"/>
                    <a:pt x="27" y="98"/>
                  </a:cubicBezTo>
                  <a:cubicBezTo>
                    <a:pt x="28" y="101"/>
                    <a:pt x="29" y="104"/>
                    <a:pt x="31" y="106"/>
                  </a:cubicBezTo>
                  <a:cubicBezTo>
                    <a:pt x="32" y="109"/>
                    <a:pt x="34" y="110"/>
                    <a:pt x="36" y="111"/>
                  </a:cubicBezTo>
                  <a:cubicBezTo>
                    <a:pt x="38" y="113"/>
                    <a:pt x="40" y="113"/>
                    <a:pt x="43" y="113"/>
                  </a:cubicBezTo>
                  <a:cubicBezTo>
                    <a:pt x="45" y="113"/>
                    <a:pt x="46" y="113"/>
                    <a:pt x="48" y="112"/>
                  </a:cubicBezTo>
                  <a:cubicBezTo>
                    <a:pt x="50" y="112"/>
                    <a:pt x="51" y="112"/>
                    <a:pt x="52" y="111"/>
                  </a:cubicBezTo>
                  <a:cubicBezTo>
                    <a:pt x="53" y="110"/>
                    <a:pt x="55" y="109"/>
                    <a:pt x="56" y="108"/>
                  </a:cubicBezTo>
                  <a:cubicBezTo>
                    <a:pt x="57" y="107"/>
                    <a:pt x="58" y="106"/>
                    <a:pt x="58" y="105"/>
                  </a:cubicBezTo>
                  <a:lnTo>
                    <a:pt x="58" y="6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30" name="Freeform 18">
              <a:extLst>
                <a:ext uri="{FF2B5EF4-FFF2-40B4-BE49-F238E27FC236}">
                  <a16:creationId xmlns:a16="http://schemas.microsoft.com/office/drawing/2014/main" id="{DACB136F-C6ED-433D-9631-749BCDC77B78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9731769" y="1406980"/>
              <a:ext cx="19613" cy="91524"/>
            </a:xfrm>
            <a:custGeom>
              <a:avLst/>
              <a:gdLst>
                <a:gd name="T0" fmla="*/ 29 w 29"/>
                <a:gd name="T1" fmla="*/ 14 h 134"/>
                <a:gd name="T2" fmla="*/ 28 w 29"/>
                <a:gd name="T3" fmla="*/ 20 h 134"/>
                <a:gd name="T4" fmla="*/ 25 w 29"/>
                <a:gd name="T5" fmla="*/ 25 h 134"/>
                <a:gd name="T6" fmla="*/ 20 w 29"/>
                <a:gd name="T7" fmla="*/ 28 h 134"/>
                <a:gd name="T8" fmla="*/ 15 w 29"/>
                <a:gd name="T9" fmla="*/ 29 h 134"/>
                <a:gd name="T10" fmla="*/ 9 w 29"/>
                <a:gd name="T11" fmla="*/ 28 h 134"/>
                <a:gd name="T12" fmla="*/ 5 w 29"/>
                <a:gd name="T13" fmla="*/ 25 h 134"/>
                <a:gd name="T14" fmla="*/ 1 w 29"/>
                <a:gd name="T15" fmla="*/ 20 h 134"/>
                <a:gd name="T16" fmla="*/ 0 w 29"/>
                <a:gd name="T17" fmla="*/ 14 h 134"/>
                <a:gd name="T18" fmla="*/ 1 w 29"/>
                <a:gd name="T19" fmla="*/ 9 h 134"/>
                <a:gd name="T20" fmla="*/ 5 w 29"/>
                <a:gd name="T21" fmla="*/ 4 h 134"/>
                <a:gd name="T22" fmla="*/ 9 w 29"/>
                <a:gd name="T23" fmla="*/ 1 h 134"/>
                <a:gd name="T24" fmla="*/ 15 w 29"/>
                <a:gd name="T25" fmla="*/ 0 h 134"/>
                <a:gd name="T26" fmla="*/ 20 w 29"/>
                <a:gd name="T27" fmla="*/ 1 h 134"/>
                <a:gd name="T28" fmla="*/ 25 w 29"/>
                <a:gd name="T29" fmla="*/ 4 h 134"/>
                <a:gd name="T30" fmla="*/ 28 w 29"/>
                <a:gd name="T31" fmla="*/ 9 h 134"/>
                <a:gd name="T32" fmla="*/ 29 w 29"/>
                <a:gd name="T33" fmla="*/ 14 h 134"/>
                <a:gd name="T34" fmla="*/ 2 w 29"/>
                <a:gd name="T35" fmla="*/ 134 h 134"/>
                <a:gd name="T36" fmla="*/ 2 w 29"/>
                <a:gd name="T37" fmla="*/ 37 h 134"/>
                <a:gd name="T38" fmla="*/ 28 w 29"/>
                <a:gd name="T39" fmla="*/ 37 h 134"/>
                <a:gd name="T40" fmla="*/ 28 w 29"/>
                <a:gd name="T41" fmla="*/ 134 h 134"/>
                <a:gd name="T42" fmla="*/ 2 w 29"/>
                <a:gd name="T43" fmla="*/ 134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9" h="134">
                  <a:moveTo>
                    <a:pt x="29" y="14"/>
                  </a:moveTo>
                  <a:cubicBezTo>
                    <a:pt x="29" y="16"/>
                    <a:pt x="29" y="18"/>
                    <a:pt x="28" y="20"/>
                  </a:cubicBezTo>
                  <a:cubicBezTo>
                    <a:pt x="28" y="22"/>
                    <a:pt x="26" y="23"/>
                    <a:pt x="25" y="25"/>
                  </a:cubicBezTo>
                  <a:cubicBezTo>
                    <a:pt x="24" y="26"/>
                    <a:pt x="22" y="27"/>
                    <a:pt x="20" y="28"/>
                  </a:cubicBezTo>
                  <a:cubicBezTo>
                    <a:pt x="19" y="29"/>
                    <a:pt x="17" y="29"/>
                    <a:pt x="15" y="29"/>
                  </a:cubicBezTo>
                  <a:cubicBezTo>
                    <a:pt x="13" y="29"/>
                    <a:pt x="11" y="29"/>
                    <a:pt x="9" y="28"/>
                  </a:cubicBezTo>
                  <a:cubicBezTo>
                    <a:pt x="7" y="27"/>
                    <a:pt x="6" y="26"/>
                    <a:pt x="5" y="25"/>
                  </a:cubicBezTo>
                  <a:cubicBezTo>
                    <a:pt x="3" y="23"/>
                    <a:pt x="2" y="22"/>
                    <a:pt x="1" y="20"/>
                  </a:cubicBezTo>
                  <a:cubicBezTo>
                    <a:pt x="1" y="18"/>
                    <a:pt x="0" y="16"/>
                    <a:pt x="0" y="14"/>
                  </a:cubicBezTo>
                  <a:cubicBezTo>
                    <a:pt x="0" y="12"/>
                    <a:pt x="1" y="11"/>
                    <a:pt x="1" y="9"/>
                  </a:cubicBezTo>
                  <a:cubicBezTo>
                    <a:pt x="2" y="7"/>
                    <a:pt x="3" y="5"/>
                    <a:pt x="5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2" y="2"/>
                    <a:pt x="24" y="3"/>
                    <a:pt x="25" y="4"/>
                  </a:cubicBezTo>
                  <a:cubicBezTo>
                    <a:pt x="26" y="5"/>
                    <a:pt x="28" y="7"/>
                    <a:pt x="28" y="9"/>
                  </a:cubicBezTo>
                  <a:cubicBezTo>
                    <a:pt x="29" y="11"/>
                    <a:pt x="29" y="12"/>
                    <a:pt x="29" y="14"/>
                  </a:cubicBezTo>
                  <a:close/>
                  <a:moveTo>
                    <a:pt x="2" y="134"/>
                  </a:moveTo>
                  <a:cubicBezTo>
                    <a:pt x="2" y="37"/>
                    <a:pt x="2" y="37"/>
                    <a:pt x="2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134"/>
                    <a:pt x="28" y="134"/>
                    <a:pt x="28" y="134"/>
                  </a:cubicBezTo>
                  <a:lnTo>
                    <a:pt x="2" y="1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31" name="Freeform 19">
              <a:extLst>
                <a:ext uri="{FF2B5EF4-FFF2-40B4-BE49-F238E27FC236}">
                  <a16:creationId xmlns:a16="http://schemas.microsoft.com/office/drawing/2014/main" id="{922FADCD-4917-47C7-ADDB-1574B3C49CA8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9767071" y="1430515"/>
              <a:ext cx="58837" cy="67989"/>
            </a:xfrm>
            <a:custGeom>
              <a:avLst/>
              <a:gdLst>
                <a:gd name="T0" fmla="*/ 59 w 85"/>
                <a:gd name="T1" fmla="*/ 99 h 99"/>
                <a:gd name="T2" fmla="*/ 59 w 85"/>
                <a:gd name="T3" fmla="*/ 47 h 99"/>
                <a:gd name="T4" fmla="*/ 55 w 85"/>
                <a:gd name="T5" fmla="*/ 30 h 99"/>
                <a:gd name="T6" fmla="*/ 43 w 85"/>
                <a:gd name="T7" fmla="*/ 24 h 99"/>
                <a:gd name="T8" fmla="*/ 35 w 85"/>
                <a:gd name="T9" fmla="*/ 25 h 99"/>
                <a:gd name="T10" fmla="*/ 30 w 85"/>
                <a:gd name="T11" fmla="*/ 29 h 99"/>
                <a:gd name="T12" fmla="*/ 27 w 85"/>
                <a:gd name="T13" fmla="*/ 35 h 99"/>
                <a:gd name="T14" fmla="*/ 26 w 85"/>
                <a:gd name="T15" fmla="*/ 46 h 99"/>
                <a:gd name="T16" fmla="*/ 26 w 85"/>
                <a:gd name="T17" fmla="*/ 99 h 99"/>
                <a:gd name="T18" fmla="*/ 0 w 85"/>
                <a:gd name="T19" fmla="*/ 99 h 99"/>
                <a:gd name="T20" fmla="*/ 0 w 85"/>
                <a:gd name="T21" fmla="*/ 2 h 99"/>
                <a:gd name="T22" fmla="*/ 26 w 85"/>
                <a:gd name="T23" fmla="*/ 2 h 99"/>
                <a:gd name="T24" fmla="*/ 26 w 85"/>
                <a:gd name="T25" fmla="*/ 8 h 99"/>
                <a:gd name="T26" fmla="*/ 30 w 85"/>
                <a:gd name="T27" fmla="*/ 5 h 99"/>
                <a:gd name="T28" fmla="*/ 35 w 85"/>
                <a:gd name="T29" fmla="*/ 2 h 99"/>
                <a:gd name="T30" fmla="*/ 42 w 85"/>
                <a:gd name="T31" fmla="*/ 1 h 99"/>
                <a:gd name="T32" fmla="*/ 49 w 85"/>
                <a:gd name="T33" fmla="*/ 0 h 99"/>
                <a:gd name="T34" fmla="*/ 65 w 85"/>
                <a:gd name="T35" fmla="*/ 3 h 99"/>
                <a:gd name="T36" fmla="*/ 76 w 85"/>
                <a:gd name="T37" fmla="*/ 12 h 99"/>
                <a:gd name="T38" fmla="*/ 82 w 85"/>
                <a:gd name="T39" fmla="*/ 26 h 99"/>
                <a:gd name="T40" fmla="*/ 85 w 85"/>
                <a:gd name="T41" fmla="*/ 44 h 99"/>
                <a:gd name="T42" fmla="*/ 85 w 85"/>
                <a:gd name="T43" fmla="*/ 99 h 99"/>
                <a:gd name="T44" fmla="*/ 59 w 85"/>
                <a:gd name="T45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5" h="99">
                  <a:moveTo>
                    <a:pt x="59" y="99"/>
                  </a:moveTo>
                  <a:cubicBezTo>
                    <a:pt x="59" y="47"/>
                    <a:pt x="59" y="47"/>
                    <a:pt x="59" y="47"/>
                  </a:cubicBezTo>
                  <a:cubicBezTo>
                    <a:pt x="59" y="39"/>
                    <a:pt x="58" y="33"/>
                    <a:pt x="55" y="30"/>
                  </a:cubicBezTo>
                  <a:cubicBezTo>
                    <a:pt x="53" y="26"/>
                    <a:pt x="49" y="24"/>
                    <a:pt x="43" y="24"/>
                  </a:cubicBezTo>
                  <a:cubicBezTo>
                    <a:pt x="40" y="24"/>
                    <a:pt x="38" y="24"/>
                    <a:pt x="35" y="25"/>
                  </a:cubicBezTo>
                  <a:cubicBezTo>
                    <a:pt x="33" y="26"/>
                    <a:pt x="32" y="27"/>
                    <a:pt x="30" y="29"/>
                  </a:cubicBezTo>
                  <a:cubicBezTo>
                    <a:pt x="29" y="30"/>
                    <a:pt x="28" y="33"/>
                    <a:pt x="27" y="35"/>
                  </a:cubicBezTo>
                  <a:cubicBezTo>
                    <a:pt x="26" y="38"/>
                    <a:pt x="26" y="42"/>
                    <a:pt x="26" y="46"/>
                  </a:cubicBezTo>
                  <a:cubicBezTo>
                    <a:pt x="26" y="99"/>
                    <a:pt x="26" y="99"/>
                    <a:pt x="26" y="99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7" y="7"/>
                    <a:pt x="28" y="6"/>
                    <a:pt x="30" y="5"/>
                  </a:cubicBezTo>
                  <a:cubicBezTo>
                    <a:pt x="31" y="4"/>
                    <a:pt x="33" y="3"/>
                    <a:pt x="35" y="2"/>
                  </a:cubicBezTo>
                  <a:cubicBezTo>
                    <a:pt x="37" y="2"/>
                    <a:pt x="39" y="1"/>
                    <a:pt x="42" y="1"/>
                  </a:cubicBezTo>
                  <a:cubicBezTo>
                    <a:pt x="44" y="0"/>
                    <a:pt x="46" y="0"/>
                    <a:pt x="49" y="0"/>
                  </a:cubicBezTo>
                  <a:cubicBezTo>
                    <a:pt x="55" y="0"/>
                    <a:pt x="60" y="1"/>
                    <a:pt x="65" y="3"/>
                  </a:cubicBezTo>
                  <a:cubicBezTo>
                    <a:pt x="69" y="5"/>
                    <a:pt x="73" y="8"/>
                    <a:pt x="76" y="12"/>
                  </a:cubicBezTo>
                  <a:cubicBezTo>
                    <a:pt x="79" y="16"/>
                    <a:pt x="81" y="20"/>
                    <a:pt x="82" y="26"/>
                  </a:cubicBezTo>
                  <a:cubicBezTo>
                    <a:pt x="84" y="31"/>
                    <a:pt x="85" y="38"/>
                    <a:pt x="85" y="44"/>
                  </a:cubicBezTo>
                  <a:cubicBezTo>
                    <a:pt x="85" y="99"/>
                    <a:pt x="85" y="99"/>
                    <a:pt x="85" y="99"/>
                  </a:cubicBezTo>
                  <a:lnTo>
                    <a:pt x="59" y="9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32" name="Freeform 20">
              <a:extLst>
                <a:ext uri="{FF2B5EF4-FFF2-40B4-BE49-F238E27FC236}">
                  <a16:creationId xmlns:a16="http://schemas.microsoft.com/office/drawing/2014/main" id="{EEA96631-7CCE-49D6-A700-D76FF986E47F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9880823" y="1410902"/>
              <a:ext cx="71912" cy="87602"/>
            </a:xfrm>
            <a:custGeom>
              <a:avLst/>
              <a:gdLst>
                <a:gd name="T0" fmla="*/ 105 w 105"/>
                <a:gd name="T1" fmla="*/ 64 h 129"/>
                <a:gd name="T2" fmla="*/ 103 w 105"/>
                <a:gd name="T3" fmla="*/ 85 h 129"/>
                <a:gd name="T4" fmla="*/ 96 w 105"/>
                <a:gd name="T5" fmla="*/ 101 h 129"/>
                <a:gd name="T6" fmla="*/ 85 w 105"/>
                <a:gd name="T7" fmla="*/ 114 h 129"/>
                <a:gd name="T8" fmla="*/ 71 w 105"/>
                <a:gd name="T9" fmla="*/ 122 h 129"/>
                <a:gd name="T10" fmla="*/ 55 w 105"/>
                <a:gd name="T11" fmla="*/ 128 h 129"/>
                <a:gd name="T12" fmla="*/ 39 w 105"/>
                <a:gd name="T13" fmla="*/ 129 h 129"/>
                <a:gd name="T14" fmla="*/ 0 w 105"/>
                <a:gd name="T15" fmla="*/ 129 h 129"/>
                <a:gd name="T16" fmla="*/ 0 w 105"/>
                <a:gd name="T17" fmla="*/ 0 h 129"/>
                <a:gd name="T18" fmla="*/ 41 w 105"/>
                <a:gd name="T19" fmla="*/ 0 h 129"/>
                <a:gd name="T20" fmla="*/ 67 w 105"/>
                <a:gd name="T21" fmla="*/ 3 h 129"/>
                <a:gd name="T22" fmla="*/ 87 w 105"/>
                <a:gd name="T23" fmla="*/ 14 h 129"/>
                <a:gd name="T24" fmla="*/ 100 w 105"/>
                <a:gd name="T25" fmla="*/ 34 h 129"/>
                <a:gd name="T26" fmla="*/ 105 w 105"/>
                <a:gd name="T27" fmla="*/ 64 h 129"/>
                <a:gd name="T28" fmla="*/ 79 w 105"/>
                <a:gd name="T29" fmla="*/ 64 h 129"/>
                <a:gd name="T30" fmla="*/ 76 w 105"/>
                <a:gd name="T31" fmla="*/ 47 h 129"/>
                <a:gd name="T32" fmla="*/ 70 w 105"/>
                <a:gd name="T33" fmla="*/ 35 h 129"/>
                <a:gd name="T34" fmla="*/ 58 w 105"/>
                <a:gd name="T35" fmla="*/ 27 h 129"/>
                <a:gd name="T36" fmla="*/ 40 w 105"/>
                <a:gd name="T37" fmla="*/ 25 h 129"/>
                <a:gd name="T38" fmla="*/ 26 w 105"/>
                <a:gd name="T39" fmla="*/ 25 h 129"/>
                <a:gd name="T40" fmla="*/ 26 w 105"/>
                <a:gd name="T41" fmla="*/ 104 h 129"/>
                <a:gd name="T42" fmla="*/ 39 w 105"/>
                <a:gd name="T43" fmla="*/ 104 h 129"/>
                <a:gd name="T44" fmla="*/ 57 w 105"/>
                <a:gd name="T45" fmla="*/ 101 h 129"/>
                <a:gd name="T46" fmla="*/ 69 w 105"/>
                <a:gd name="T47" fmla="*/ 93 h 129"/>
                <a:gd name="T48" fmla="*/ 76 w 105"/>
                <a:gd name="T49" fmla="*/ 81 h 129"/>
                <a:gd name="T50" fmla="*/ 79 w 105"/>
                <a:gd name="T51" fmla="*/ 64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5" h="129">
                  <a:moveTo>
                    <a:pt x="105" y="64"/>
                  </a:moveTo>
                  <a:cubicBezTo>
                    <a:pt x="105" y="72"/>
                    <a:pt x="104" y="79"/>
                    <a:pt x="103" y="85"/>
                  </a:cubicBezTo>
                  <a:cubicBezTo>
                    <a:pt x="101" y="91"/>
                    <a:pt x="99" y="97"/>
                    <a:pt x="96" y="101"/>
                  </a:cubicBezTo>
                  <a:cubicBezTo>
                    <a:pt x="92" y="106"/>
                    <a:pt x="89" y="110"/>
                    <a:pt x="85" y="114"/>
                  </a:cubicBezTo>
                  <a:cubicBezTo>
                    <a:pt x="80" y="117"/>
                    <a:pt x="76" y="120"/>
                    <a:pt x="71" y="122"/>
                  </a:cubicBezTo>
                  <a:cubicBezTo>
                    <a:pt x="66" y="125"/>
                    <a:pt x="61" y="126"/>
                    <a:pt x="55" y="128"/>
                  </a:cubicBezTo>
                  <a:cubicBezTo>
                    <a:pt x="50" y="129"/>
                    <a:pt x="44" y="129"/>
                    <a:pt x="39" y="129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50" y="0"/>
                    <a:pt x="59" y="1"/>
                    <a:pt x="67" y="3"/>
                  </a:cubicBezTo>
                  <a:cubicBezTo>
                    <a:pt x="74" y="5"/>
                    <a:pt x="81" y="9"/>
                    <a:pt x="87" y="14"/>
                  </a:cubicBezTo>
                  <a:cubicBezTo>
                    <a:pt x="93" y="19"/>
                    <a:pt x="97" y="26"/>
                    <a:pt x="100" y="34"/>
                  </a:cubicBezTo>
                  <a:cubicBezTo>
                    <a:pt x="104" y="43"/>
                    <a:pt x="105" y="53"/>
                    <a:pt x="105" y="64"/>
                  </a:cubicBezTo>
                  <a:close/>
                  <a:moveTo>
                    <a:pt x="79" y="64"/>
                  </a:moveTo>
                  <a:cubicBezTo>
                    <a:pt x="79" y="58"/>
                    <a:pt x="78" y="52"/>
                    <a:pt x="76" y="47"/>
                  </a:cubicBezTo>
                  <a:cubicBezTo>
                    <a:pt x="75" y="42"/>
                    <a:pt x="73" y="38"/>
                    <a:pt x="70" y="35"/>
                  </a:cubicBezTo>
                  <a:cubicBezTo>
                    <a:pt x="66" y="31"/>
                    <a:pt x="62" y="29"/>
                    <a:pt x="58" y="27"/>
                  </a:cubicBezTo>
                  <a:cubicBezTo>
                    <a:pt x="53" y="26"/>
                    <a:pt x="47" y="25"/>
                    <a:pt x="40" y="25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6" y="104"/>
                    <a:pt x="26" y="104"/>
                    <a:pt x="26" y="104"/>
                  </a:cubicBezTo>
                  <a:cubicBezTo>
                    <a:pt x="39" y="104"/>
                    <a:pt x="39" y="104"/>
                    <a:pt x="39" y="104"/>
                  </a:cubicBezTo>
                  <a:cubicBezTo>
                    <a:pt x="46" y="104"/>
                    <a:pt x="52" y="103"/>
                    <a:pt x="57" y="101"/>
                  </a:cubicBezTo>
                  <a:cubicBezTo>
                    <a:pt x="62" y="99"/>
                    <a:pt x="66" y="97"/>
                    <a:pt x="69" y="93"/>
                  </a:cubicBezTo>
                  <a:cubicBezTo>
                    <a:pt x="72" y="90"/>
                    <a:pt x="75" y="85"/>
                    <a:pt x="76" y="81"/>
                  </a:cubicBezTo>
                  <a:cubicBezTo>
                    <a:pt x="78" y="76"/>
                    <a:pt x="79" y="70"/>
                    <a:pt x="79" y="6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33" name="Freeform 21">
              <a:extLst>
                <a:ext uri="{FF2B5EF4-FFF2-40B4-BE49-F238E27FC236}">
                  <a16:creationId xmlns:a16="http://schemas.microsoft.com/office/drawing/2014/main" id="{4BB24B6E-8D3D-449A-850B-52F8A8EF40A7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9964502" y="1430515"/>
              <a:ext cx="56222" cy="69297"/>
            </a:xfrm>
            <a:custGeom>
              <a:avLst/>
              <a:gdLst>
                <a:gd name="T0" fmla="*/ 84 w 84"/>
                <a:gd name="T1" fmla="*/ 51 h 101"/>
                <a:gd name="T2" fmla="*/ 84 w 84"/>
                <a:gd name="T3" fmla="*/ 55 h 101"/>
                <a:gd name="T4" fmla="*/ 84 w 84"/>
                <a:gd name="T5" fmla="*/ 59 h 101"/>
                <a:gd name="T6" fmla="*/ 26 w 84"/>
                <a:gd name="T7" fmla="*/ 59 h 101"/>
                <a:gd name="T8" fmla="*/ 28 w 84"/>
                <a:gd name="T9" fmla="*/ 67 h 101"/>
                <a:gd name="T10" fmla="*/ 32 w 84"/>
                <a:gd name="T11" fmla="*/ 73 h 101"/>
                <a:gd name="T12" fmla="*/ 39 w 84"/>
                <a:gd name="T13" fmla="*/ 76 h 101"/>
                <a:gd name="T14" fmla="*/ 46 w 84"/>
                <a:gd name="T15" fmla="*/ 77 h 101"/>
                <a:gd name="T16" fmla="*/ 50 w 84"/>
                <a:gd name="T17" fmla="*/ 77 h 101"/>
                <a:gd name="T18" fmla="*/ 55 w 84"/>
                <a:gd name="T19" fmla="*/ 75 h 101"/>
                <a:gd name="T20" fmla="*/ 59 w 84"/>
                <a:gd name="T21" fmla="*/ 73 h 101"/>
                <a:gd name="T22" fmla="*/ 62 w 84"/>
                <a:gd name="T23" fmla="*/ 70 h 101"/>
                <a:gd name="T24" fmla="*/ 80 w 84"/>
                <a:gd name="T25" fmla="*/ 85 h 101"/>
                <a:gd name="T26" fmla="*/ 74 w 84"/>
                <a:gd name="T27" fmla="*/ 92 h 101"/>
                <a:gd name="T28" fmla="*/ 65 w 84"/>
                <a:gd name="T29" fmla="*/ 97 h 101"/>
                <a:gd name="T30" fmla="*/ 55 w 84"/>
                <a:gd name="T31" fmla="*/ 100 h 101"/>
                <a:gd name="T32" fmla="*/ 46 w 84"/>
                <a:gd name="T33" fmla="*/ 101 h 101"/>
                <a:gd name="T34" fmla="*/ 31 w 84"/>
                <a:gd name="T35" fmla="*/ 99 h 101"/>
                <a:gd name="T36" fmla="*/ 20 w 84"/>
                <a:gd name="T37" fmla="*/ 94 h 101"/>
                <a:gd name="T38" fmla="*/ 12 w 84"/>
                <a:gd name="T39" fmla="*/ 87 h 101"/>
                <a:gd name="T40" fmla="*/ 5 w 84"/>
                <a:gd name="T41" fmla="*/ 77 h 101"/>
                <a:gd name="T42" fmla="*/ 1 w 84"/>
                <a:gd name="T43" fmla="*/ 65 h 101"/>
                <a:gd name="T44" fmla="*/ 0 w 84"/>
                <a:gd name="T45" fmla="*/ 51 h 101"/>
                <a:gd name="T46" fmla="*/ 3 w 84"/>
                <a:gd name="T47" fmla="*/ 30 h 101"/>
                <a:gd name="T48" fmla="*/ 12 w 84"/>
                <a:gd name="T49" fmla="*/ 14 h 101"/>
                <a:gd name="T50" fmla="*/ 26 w 84"/>
                <a:gd name="T51" fmla="*/ 4 h 101"/>
                <a:gd name="T52" fmla="*/ 43 w 84"/>
                <a:gd name="T53" fmla="*/ 0 h 101"/>
                <a:gd name="T54" fmla="*/ 61 w 84"/>
                <a:gd name="T55" fmla="*/ 4 h 101"/>
                <a:gd name="T56" fmla="*/ 73 w 84"/>
                <a:gd name="T57" fmla="*/ 15 h 101"/>
                <a:gd name="T58" fmla="*/ 81 w 84"/>
                <a:gd name="T59" fmla="*/ 31 h 101"/>
                <a:gd name="T60" fmla="*/ 84 w 84"/>
                <a:gd name="T61" fmla="*/ 51 h 101"/>
                <a:gd name="T62" fmla="*/ 59 w 84"/>
                <a:gd name="T63" fmla="*/ 40 h 101"/>
                <a:gd name="T64" fmla="*/ 58 w 84"/>
                <a:gd name="T65" fmla="*/ 33 h 101"/>
                <a:gd name="T66" fmla="*/ 55 w 84"/>
                <a:gd name="T67" fmla="*/ 28 h 101"/>
                <a:gd name="T68" fmla="*/ 49 w 84"/>
                <a:gd name="T69" fmla="*/ 24 h 101"/>
                <a:gd name="T70" fmla="*/ 42 w 84"/>
                <a:gd name="T71" fmla="*/ 22 h 101"/>
                <a:gd name="T72" fmla="*/ 36 w 84"/>
                <a:gd name="T73" fmla="*/ 24 h 101"/>
                <a:gd name="T74" fmla="*/ 31 w 84"/>
                <a:gd name="T75" fmla="*/ 27 h 101"/>
                <a:gd name="T76" fmla="*/ 28 w 84"/>
                <a:gd name="T77" fmla="*/ 33 h 101"/>
                <a:gd name="T78" fmla="*/ 26 w 84"/>
                <a:gd name="T79" fmla="*/ 40 h 101"/>
                <a:gd name="T80" fmla="*/ 59 w 84"/>
                <a:gd name="T81" fmla="*/ 4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4" h="101">
                  <a:moveTo>
                    <a:pt x="84" y="51"/>
                  </a:moveTo>
                  <a:cubicBezTo>
                    <a:pt x="84" y="52"/>
                    <a:pt x="84" y="54"/>
                    <a:pt x="84" y="55"/>
                  </a:cubicBezTo>
                  <a:cubicBezTo>
                    <a:pt x="84" y="57"/>
                    <a:pt x="84" y="58"/>
                    <a:pt x="84" y="59"/>
                  </a:cubicBezTo>
                  <a:cubicBezTo>
                    <a:pt x="26" y="59"/>
                    <a:pt x="26" y="59"/>
                    <a:pt x="26" y="59"/>
                  </a:cubicBezTo>
                  <a:cubicBezTo>
                    <a:pt x="26" y="62"/>
                    <a:pt x="27" y="65"/>
                    <a:pt x="28" y="67"/>
                  </a:cubicBezTo>
                  <a:cubicBezTo>
                    <a:pt x="29" y="70"/>
                    <a:pt x="31" y="71"/>
                    <a:pt x="32" y="73"/>
                  </a:cubicBezTo>
                  <a:cubicBezTo>
                    <a:pt x="34" y="74"/>
                    <a:pt x="36" y="75"/>
                    <a:pt x="39" y="76"/>
                  </a:cubicBezTo>
                  <a:cubicBezTo>
                    <a:pt x="41" y="77"/>
                    <a:pt x="43" y="77"/>
                    <a:pt x="46" y="77"/>
                  </a:cubicBezTo>
                  <a:cubicBezTo>
                    <a:pt x="47" y="77"/>
                    <a:pt x="49" y="77"/>
                    <a:pt x="50" y="77"/>
                  </a:cubicBezTo>
                  <a:cubicBezTo>
                    <a:pt x="52" y="76"/>
                    <a:pt x="54" y="76"/>
                    <a:pt x="55" y="75"/>
                  </a:cubicBezTo>
                  <a:cubicBezTo>
                    <a:pt x="57" y="75"/>
                    <a:pt x="58" y="74"/>
                    <a:pt x="59" y="73"/>
                  </a:cubicBezTo>
                  <a:cubicBezTo>
                    <a:pt x="60" y="72"/>
                    <a:pt x="61" y="71"/>
                    <a:pt x="62" y="70"/>
                  </a:cubicBezTo>
                  <a:cubicBezTo>
                    <a:pt x="80" y="85"/>
                    <a:pt x="80" y="85"/>
                    <a:pt x="80" y="85"/>
                  </a:cubicBezTo>
                  <a:cubicBezTo>
                    <a:pt x="78" y="88"/>
                    <a:pt x="76" y="90"/>
                    <a:pt x="74" y="92"/>
                  </a:cubicBezTo>
                  <a:cubicBezTo>
                    <a:pt x="71" y="94"/>
                    <a:pt x="68" y="96"/>
                    <a:pt x="65" y="97"/>
                  </a:cubicBezTo>
                  <a:cubicBezTo>
                    <a:pt x="62" y="98"/>
                    <a:pt x="59" y="99"/>
                    <a:pt x="55" y="100"/>
                  </a:cubicBezTo>
                  <a:cubicBezTo>
                    <a:pt x="52" y="101"/>
                    <a:pt x="49" y="101"/>
                    <a:pt x="46" y="101"/>
                  </a:cubicBezTo>
                  <a:cubicBezTo>
                    <a:pt x="40" y="101"/>
                    <a:pt x="35" y="101"/>
                    <a:pt x="31" y="99"/>
                  </a:cubicBezTo>
                  <a:cubicBezTo>
                    <a:pt x="27" y="98"/>
                    <a:pt x="23" y="96"/>
                    <a:pt x="20" y="94"/>
                  </a:cubicBezTo>
                  <a:cubicBezTo>
                    <a:pt x="17" y="92"/>
                    <a:pt x="14" y="89"/>
                    <a:pt x="12" y="87"/>
                  </a:cubicBezTo>
                  <a:cubicBezTo>
                    <a:pt x="9" y="84"/>
                    <a:pt x="7" y="80"/>
                    <a:pt x="5" y="77"/>
                  </a:cubicBezTo>
                  <a:cubicBezTo>
                    <a:pt x="4" y="73"/>
                    <a:pt x="2" y="69"/>
                    <a:pt x="1" y="65"/>
                  </a:cubicBezTo>
                  <a:cubicBezTo>
                    <a:pt x="0" y="61"/>
                    <a:pt x="0" y="56"/>
                    <a:pt x="0" y="51"/>
                  </a:cubicBezTo>
                  <a:cubicBezTo>
                    <a:pt x="0" y="43"/>
                    <a:pt x="1" y="36"/>
                    <a:pt x="3" y="30"/>
                  </a:cubicBezTo>
                  <a:cubicBezTo>
                    <a:pt x="5" y="24"/>
                    <a:pt x="8" y="19"/>
                    <a:pt x="12" y="14"/>
                  </a:cubicBezTo>
                  <a:cubicBezTo>
                    <a:pt x="16" y="10"/>
                    <a:pt x="21" y="6"/>
                    <a:pt x="26" y="4"/>
                  </a:cubicBezTo>
                  <a:cubicBezTo>
                    <a:pt x="31" y="1"/>
                    <a:pt x="37" y="0"/>
                    <a:pt x="43" y="0"/>
                  </a:cubicBezTo>
                  <a:cubicBezTo>
                    <a:pt x="50" y="0"/>
                    <a:pt x="55" y="1"/>
                    <a:pt x="61" y="4"/>
                  </a:cubicBezTo>
                  <a:cubicBezTo>
                    <a:pt x="66" y="7"/>
                    <a:pt x="70" y="10"/>
                    <a:pt x="73" y="15"/>
                  </a:cubicBezTo>
                  <a:cubicBezTo>
                    <a:pt x="77" y="19"/>
                    <a:pt x="79" y="25"/>
                    <a:pt x="81" y="31"/>
                  </a:cubicBezTo>
                  <a:cubicBezTo>
                    <a:pt x="83" y="37"/>
                    <a:pt x="84" y="44"/>
                    <a:pt x="84" y="51"/>
                  </a:cubicBezTo>
                  <a:close/>
                  <a:moveTo>
                    <a:pt x="59" y="40"/>
                  </a:moveTo>
                  <a:cubicBezTo>
                    <a:pt x="59" y="37"/>
                    <a:pt x="59" y="35"/>
                    <a:pt x="58" y="33"/>
                  </a:cubicBezTo>
                  <a:cubicBezTo>
                    <a:pt x="57" y="31"/>
                    <a:pt x="56" y="29"/>
                    <a:pt x="55" y="28"/>
                  </a:cubicBezTo>
                  <a:cubicBezTo>
                    <a:pt x="53" y="26"/>
                    <a:pt x="51" y="25"/>
                    <a:pt x="49" y="24"/>
                  </a:cubicBezTo>
                  <a:cubicBezTo>
                    <a:pt x="47" y="23"/>
                    <a:pt x="45" y="22"/>
                    <a:pt x="42" y="22"/>
                  </a:cubicBezTo>
                  <a:cubicBezTo>
                    <a:pt x="40" y="22"/>
                    <a:pt x="37" y="23"/>
                    <a:pt x="36" y="24"/>
                  </a:cubicBezTo>
                  <a:cubicBezTo>
                    <a:pt x="34" y="24"/>
                    <a:pt x="32" y="26"/>
                    <a:pt x="31" y="27"/>
                  </a:cubicBezTo>
                  <a:cubicBezTo>
                    <a:pt x="29" y="29"/>
                    <a:pt x="28" y="31"/>
                    <a:pt x="28" y="33"/>
                  </a:cubicBezTo>
                  <a:cubicBezTo>
                    <a:pt x="27" y="35"/>
                    <a:pt x="26" y="37"/>
                    <a:pt x="26" y="40"/>
                  </a:cubicBezTo>
                  <a:lnTo>
                    <a:pt x="59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22">
              <a:extLst>
                <a:ext uri="{FF2B5EF4-FFF2-40B4-BE49-F238E27FC236}">
                  <a16:creationId xmlns:a16="http://schemas.microsoft.com/office/drawing/2014/main" id="{767CA49F-CF78-4517-9D40-459A6165DB66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035106" y="1431822"/>
              <a:ext cx="57529" cy="67989"/>
            </a:xfrm>
            <a:custGeom>
              <a:avLst/>
              <a:gdLst>
                <a:gd name="T0" fmla="*/ 58 w 84"/>
                <a:gd name="T1" fmla="*/ 97 h 99"/>
                <a:gd name="T2" fmla="*/ 58 w 84"/>
                <a:gd name="T3" fmla="*/ 91 h 99"/>
                <a:gd name="T4" fmla="*/ 49 w 84"/>
                <a:gd name="T5" fmla="*/ 97 h 99"/>
                <a:gd name="T6" fmla="*/ 35 w 84"/>
                <a:gd name="T7" fmla="*/ 99 h 99"/>
                <a:gd name="T8" fmla="*/ 9 w 84"/>
                <a:gd name="T9" fmla="*/ 88 h 99"/>
                <a:gd name="T10" fmla="*/ 0 w 84"/>
                <a:gd name="T11" fmla="*/ 55 h 99"/>
                <a:gd name="T12" fmla="*/ 0 w 84"/>
                <a:gd name="T13" fmla="*/ 0 h 99"/>
                <a:gd name="T14" fmla="*/ 25 w 84"/>
                <a:gd name="T15" fmla="*/ 0 h 99"/>
                <a:gd name="T16" fmla="*/ 25 w 84"/>
                <a:gd name="T17" fmla="*/ 52 h 99"/>
                <a:gd name="T18" fmla="*/ 29 w 84"/>
                <a:gd name="T19" fmla="*/ 70 h 99"/>
                <a:gd name="T20" fmla="*/ 42 w 84"/>
                <a:gd name="T21" fmla="*/ 75 h 99"/>
                <a:gd name="T22" fmla="*/ 54 w 84"/>
                <a:gd name="T23" fmla="*/ 70 h 99"/>
                <a:gd name="T24" fmla="*/ 58 w 84"/>
                <a:gd name="T25" fmla="*/ 53 h 99"/>
                <a:gd name="T26" fmla="*/ 58 w 84"/>
                <a:gd name="T27" fmla="*/ 0 h 99"/>
                <a:gd name="T28" fmla="*/ 84 w 84"/>
                <a:gd name="T29" fmla="*/ 0 h 99"/>
                <a:gd name="T30" fmla="*/ 84 w 84"/>
                <a:gd name="T31" fmla="*/ 97 h 99"/>
                <a:gd name="T32" fmla="*/ 58 w 84"/>
                <a:gd name="T33" fmla="*/ 97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4" h="99">
                  <a:moveTo>
                    <a:pt x="58" y="97"/>
                  </a:moveTo>
                  <a:cubicBezTo>
                    <a:pt x="58" y="91"/>
                    <a:pt x="58" y="91"/>
                    <a:pt x="58" y="91"/>
                  </a:cubicBezTo>
                  <a:cubicBezTo>
                    <a:pt x="56" y="93"/>
                    <a:pt x="53" y="95"/>
                    <a:pt x="49" y="97"/>
                  </a:cubicBezTo>
                  <a:cubicBezTo>
                    <a:pt x="45" y="98"/>
                    <a:pt x="41" y="99"/>
                    <a:pt x="35" y="99"/>
                  </a:cubicBezTo>
                  <a:cubicBezTo>
                    <a:pt x="24" y="99"/>
                    <a:pt x="15" y="95"/>
                    <a:pt x="9" y="88"/>
                  </a:cubicBezTo>
                  <a:cubicBezTo>
                    <a:pt x="3" y="80"/>
                    <a:pt x="0" y="69"/>
                    <a:pt x="0" y="5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52"/>
                    <a:pt x="25" y="52"/>
                    <a:pt x="25" y="52"/>
                  </a:cubicBezTo>
                  <a:cubicBezTo>
                    <a:pt x="25" y="60"/>
                    <a:pt x="26" y="66"/>
                    <a:pt x="29" y="70"/>
                  </a:cubicBezTo>
                  <a:cubicBezTo>
                    <a:pt x="31" y="73"/>
                    <a:pt x="36" y="75"/>
                    <a:pt x="42" y="75"/>
                  </a:cubicBezTo>
                  <a:cubicBezTo>
                    <a:pt x="48" y="75"/>
                    <a:pt x="52" y="73"/>
                    <a:pt x="54" y="70"/>
                  </a:cubicBezTo>
                  <a:cubicBezTo>
                    <a:pt x="57" y="66"/>
                    <a:pt x="58" y="60"/>
                    <a:pt x="58" y="53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97"/>
                    <a:pt x="84" y="97"/>
                    <a:pt x="84" y="97"/>
                  </a:cubicBezTo>
                  <a:lnTo>
                    <a:pt x="58" y="9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35" name="Freeform 23">
              <a:extLst>
                <a:ext uri="{FF2B5EF4-FFF2-40B4-BE49-F238E27FC236}">
                  <a16:creationId xmlns:a16="http://schemas.microsoft.com/office/drawing/2014/main" id="{BCE97B83-65DD-49DB-AC39-56BB28ACA966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104403" y="1406980"/>
              <a:ext cx="43148" cy="92832"/>
            </a:xfrm>
            <a:custGeom>
              <a:avLst/>
              <a:gdLst>
                <a:gd name="T0" fmla="*/ 62 w 65"/>
                <a:gd name="T1" fmla="*/ 131 h 137"/>
                <a:gd name="T2" fmla="*/ 53 w 65"/>
                <a:gd name="T3" fmla="*/ 135 h 137"/>
                <a:gd name="T4" fmla="*/ 42 w 65"/>
                <a:gd name="T5" fmla="*/ 137 h 137"/>
                <a:gd name="T6" fmla="*/ 31 w 65"/>
                <a:gd name="T7" fmla="*/ 135 h 137"/>
                <a:gd name="T8" fmla="*/ 23 w 65"/>
                <a:gd name="T9" fmla="*/ 129 h 137"/>
                <a:gd name="T10" fmla="*/ 18 w 65"/>
                <a:gd name="T11" fmla="*/ 120 h 137"/>
                <a:gd name="T12" fmla="*/ 16 w 65"/>
                <a:gd name="T13" fmla="*/ 108 h 137"/>
                <a:gd name="T14" fmla="*/ 16 w 65"/>
                <a:gd name="T15" fmla="*/ 62 h 137"/>
                <a:gd name="T16" fmla="*/ 0 w 65"/>
                <a:gd name="T17" fmla="*/ 62 h 137"/>
                <a:gd name="T18" fmla="*/ 0 w 65"/>
                <a:gd name="T19" fmla="*/ 38 h 137"/>
                <a:gd name="T20" fmla="*/ 16 w 65"/>
                <a:gd name="T21" fmla="*/ 38 h 137"/>
                <a:gd name="T22" fmla="*/ 16 w 65"/>
                <a:gd name="T23" fmla="*/ 13 h 137"/>
                <a:gd name="T24" fmla="*/ 42 w 65"/>
                <a:gd name="T25" fmla="*/ 0 h 137"/>
                <a:gd name="T26" fmla="*/ 42 w 65"/>
                <a:gd name="T27" fmla="*/ 38 h 137"/>
                <a:gd name="T28" fmla="*/ 65 w 65"/>
                <a:gd name="T29" fmla="*/ 38 h 137"/>
                <a:gd name="T30" fmla="*/ 65 w 65"/>
                <a:gd name="T31" fmla="*/ 62 h 137"/>
                <a:gd name="T32" fmla="*/ 42 w 65"/>
                <a:gd name="T33" fmla="*/ 62 h 137"/>
                <a:gd name="T34" fmla="*/ 42 w 65"/>
                <a:gd name="T35" fmla="*/ 101 h 137"/>
                <a:gd name="T36" fmla="*/ 42 w 65"/>
                <a:gd name="T37" fmla="*/ 107 h 137"/>
                <a:gd name="T38" fmla="*/ 44 w 65"/>
                <a:gd name="T39" fmla="*/ 110 h 137"/>
                <a:gd name="T40" fmla="*/ 47 w 65"/>
                <a:gd name="T41" fmla="*/ 112 h 137"/>
                <a:gd name="T42" fmla="*/ 51 w 65"/>
                <a:gd name="T43" fmla="*/ 113 h 137"/>
                <a:gd name="T44" fmla="*/ 58 w 65"/>
                <a:gd name="T45" fmla="*/ 111 h 137"/>
                <a:gd name="T46" fmla="*/ 65 w 65"/>
                <a:gd name="T47" fmla="*/ 105 h 137"/>
                <a:gd name="T48" fmla="*/ 62 w 65"/>
                <a:gd name="T49" fmla="*/ 131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5" h="137">
                  <a:moveTo>
                    <a:pt x="62" y="131"/>
                  </a:moveTo>
                  <a:cubicBezTo>
                    <a:pt x="60" y="133"/>
                    <a:pt x="57" y="134"/>
                    <a:pt x="53" y="135"/>
                  </a:cubicBezTo>
                  <a:cubicBezTo>
                    <a:pt x="50" y="137"/>
                    <a:pt x="46" y="137"/>
                    <a:pt x="42" y="137"/>
                  </a:cubicBezTo>
                  <a:cubicBezTo>
                    <a:pt x="38" y="137"/>
                    <a:pt x="34" y="136"/>
                    <a:pt x="31" y="135"/>
                  </a:cubicBezTo>
                  <a:cubicBezTo>
                    <a:pt x="28" y="134"/>
                    <a:pt x="25" y="132"/>
                    <a:pt x="23" y="129"/>
                  </a:cubicBezTo>
                  <a:cubicBezTo>
                    <a:pt x="21" y="126"/>
                    <a:pt x="19" y="123"/>
                    <a:pt x="18" y="120"/>
                  </a:cubicBezTo>
                  <a:cubicBezTo>
                    <a:pt x="17" y="116"/>
                    <a:pt x="16" y="112"/>
                    <a:pt x="16" y="108"/>
                  </a:cubicBezTo>
                  <a:cubicBezTo>
                    <a:pt x="16" y="62"/>
                    <a:pt x="16" y="62"/>
                    <a:pt x="16" y="62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38"/>
                    <a:pt x="42" y="38"/>
                    <a:pt x="42" y="38"/>
                  </a:cubicBezTo>
                  <a:cubicBezTo>
                    <a:pt x="65" y="38"/>
                    <a:pt x="65" y="38"/>
                    <a:pt x="65" y="38"/>
                  </a:cubicBezTo>
                  <a:cubicBezTo>
                    <a:pt x="65" y="62"/>
                    <a:pt x="65" y="62"/>
                    <a:pt x="65" y="62"/>
                  </a:cubicBezTo>
                  <a:cubicBezTo>
                    <a:pt x="42" y="62"/>
                    <a:pt x="42" y="62"/>
                    <a:pt x="42" y="62"/>
                  </a:cubicBezTo>
                  <a:cubicBezTo>
                    <a:pt x="42" y="101"/>
                    <a:pt x="42" y="101"/>
                    <a:pt x="42" y="101"/>
                  </a:cubicBezTo>
                  <a:cubicBezTo>
                    <a:pt x="42" y="103"/>
                    <a:pt x="42" y="105"/>
                    <a:pt x="42" y="107"/>
                  </a:cubicBezTo>
                  <a:cubicBezTo>
                    <a:pt x="43" y="108"/>
                    <a:pt x="43" y="110"/>
                    <a:pt x="44" y="110"/>
                  </a:cubicBezTo>
                  <a:cubicBezTo>
                    <a:pt x="45" y="111"/>
                    <a:pt x="46" y="112"/>
                    <a:pt x="47" y="112"/>
                  </a:cubicBezTo>
                  <a:cubicBezTo>
                    <a:pt x="48" y="113"/>
                    <a:pt x="49" y="113"/>
                    <a:pt x="51" y="113"/>
                  </a:cubicBezTo>
                  <a:cubicBezTo>
                    <a:pt x="53" y="113"/>
                    <a:pt x="55" y="112"/>
                    <a:pt x="58" y="111"/>
                  </a:cubicBezTo>
                  <a:cubicBezTo>
                    <a:pt x="60" y="110"/>
                    <a:pt x="62" y="108"/>
                    <a:pt x="65" y="105"/>
                  </a:cubicBezTo>
                  <a:lnTo>
                    <a:pt x="62" y="13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36" name="Freeform 24">
              <a:extLst>
                <a:ext uri="{FF2B5EF4-FFF2-40B4-BE49-F238E27FC236}">
                  <a16:creationId xmlns:a16="http://schemas.microsoft.com/office/drawing/2014/main" id="{3A70ECD6-5CB1-4ABC-BD20-5CD3C4FFDF5E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160625" y="1430515"/>
              <a:ext cx="56222" cy="69297"/>
            </a:xfrm>
            <a:custGeom>
              <a:avLst/>
              <a:gdLst>
                <a:gd name="T0" fmla="*/ 78 w 81"/>
                <a:gd name="T1" fmla="*/ 9 h 101"/>
                <a:gd name="T2" fmla="*/ 70 w 81"/>
                <a:gd name="T3" fmla="*/ 30 h 101"/>
                <a:gd name="T4" fmla="*/ 55 w 81"/>
                <a:gd name="T5" fmla="*/ 24 h 101"/>
                <a:gd name="T6" fmla="*/ 41 w 81"/>
                <a:gd name="T7" fmla="*/ 22 h 101"/>
                <a:gd name="T8" fmla="*/ 31 w 81"/>
                <a:gd name="T9" fmla="*/ 23 h 101"/>
                <a:gd name="T10" fmla="*/ 28 w 81"/>
                <a:gd name="T11" fmla="*/ 28 h 101"/>
                <a:gd name="T12" fmla="*/ 29 w 81"/>
                <a:gd name="T13" fmla="*/ 31 h 101"/>
                <a:gd name="T14" fmla="*/ 32 w 81"/>
                <a:gd name="T15" fmla="*/ 33 h 101"/>
                <a:gd name="T16" fmla="*/ 38 w 81"/>
                <a:gd name="T17" fmla="*/ 36 h 101"/>
                <a:gd name="T18" fmla="*/ 48 w 81"/>
                <a:gd name="T19" fmla="*/ 39 h 101"/>
                <a:gd name="T20" fmla="*/ 61 w 81"/>
                <a:gd name="T21" fmla="*/ 44 h 101"/>
                <a:gd name="T22" fmla="*/ 71 w 81"/>
                <a:gd name="T23" fmla="*/ 50 h 101"/>
                <a:gd name="T24" fmla="*/ 78 w 81"/>
                <a:gd name="T25" fmla="*/ 59 h 101"/>
                <a:gd name="T26" fmla="*/ 81 w 81"/>
                <a:gd name="T27" fmla="*/ 71 h 101"/>
                <a:gd name="T28" fmla="*/ 78 w 81"/>
                <a:gd name="T29" fmla="*/ 85 h 101"/>
                <a:gd name="T30" fmla="*/ 69 w 81"/>
                <a:gd name="T31" fmla="*/ 94 h 101"/>
                <a:gd name="T32" fmla="*/ 57 w 81"/>
                <a:gd name="T33" fmla="*/ 100 h 101"/>
                <a:gd name="T34" fmla="*/ 41 w 81"/>
                <a:gd name="T35" fmla="*/ 101 h 101"/>
                <a:gd name="T36" fmla="*/ 19 w 81"/>
                <a:gd name="T37" fmla="*/ 98 h 101"/>
                <a:gd name="T38" fmla="*/ 0 w 81"/>
                <a:gd name="T39" fmla="*/ 90 h 101"/>
                <a:gd name="T40" fmla="*/ 9 w 81"/>
                <a:gd name="T41" fmla="*/ 70 h 101"/>
                <a:gd name="T42" fmla="*/ 25 w 81"/>
                <a:gd name="T43" fmla="*/ 77 h 101"/>
                <a:gd name="T44" fmla="*/ 43 w 81"/>
                <a:gd name="T45" fmla="*/ 79 h 101"/>
                <a:gd name="T46" fmla="*/ 53 w 81"/>
                <a:gd name="T47" fmla="*/ 78 h 101"/>
                <a:gd name="T48" fmla="*/ 56 w 81"/>
                <a:gd name="T49" fmla="*/ 72 h 101"/>
                <a:gd name="T50" fmla="*/ 55 w 81"/>
                <a:gd name="T51" fmla="*/ 69 h 101"/>
                <a:gd name="T52" fmla="*/ 53 w 81"/>
                <a:gd name="T53" fmla="*/ 67 h 101"/>
                <a:gd name="T54" fmla="*/ 48 w 81"/>
                <a:gd name="T55" fmla="*/ 64 h 101"/>
                <a:gd name="T56" fmla="*/ 41 w 81"/>
                <a:gd name="T57" fmla="*/ 62 h 101"/>
                <a:gd name="T58" fmla="*/ 26 w 81"/>
                <a:gd name="T59" fmla="*/ 57 h 101"/>
                <a:gd name="T60" fmla="*/ 13 w 81"/>
                <a:gd name="T61" fmla="*/ 51 h 101"/>
                <a:gd name="T62" fmla="*/ 6 w 81"/>
                <a:gd name="T63" fmla="*/ 42 h 101"/>
                <a:gd name="T64" fmla="*/ 3 w 81"/>
                <a:gd name="T65" fmla="*/ 29 h 101"/>
                <a:gd name="T66" fmla="*/ 6 w 81"/>
                <a:gd name="T67" fmla="*/ 16 h 101"/>
                <a:gd name="T68" fmla="*/ 14 w 81"/>
                <a:gd name="T69" fmla="*/ 7 h 101"/>
                <a:gd name="T70" fmla="*/ 26 w 81"/>
                <a:gd name="T71" fmla="*/ 2 h 101"/>
                <a:gd name="T72" fmla="*/ 42 w 81"/>
                <a:gd name="T73" fmla="*/ 0 h 101"/>
                <a:gd name="T74" fmla="*/ 61 w 81"/>
                <a:gd name="T75" fmla="*/ 3 h 101"/>
                <a:gd name="T76" fmla="*/ 78 w 81"/>
                <a:gd name="T77" fmla="*/ 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81" h="101">
                  <a:moveTo>
                    <a:pt x="78" y="9"/>
                  </a:moveTo>
                  <a:cubicBezTo>
                    <a:pt x="70" y="30"/>
                    <a:pt x="70" y="30"/>
                    <a:pt x="70" y="30"/>
                  </a:cubicBezTo>
                  <a:cubicBezTo>
                    <a:pt x="65" y="27"/>
                    <a:pt x="60" y="25"/>
                    <a:pt x="55" y="24"/>
                  </a:cubicBezTo>
                  <a:cubicBezTo>
                    <a:pt x="50" y="22"/>
                    <a:pt x="45" y="22"/>
                    <a:pt x="41" y="22"/>
                  </a:cubicBezTo>
                  <a:cubicBezTo>
                    <a:pt x="37" y="22"/>
                    <a:pt x="34" y="22"/>
                    <a:pt x="31" y="23"/>
                  </a:cubicBezTo>
                  <a:cubicBezTo>
                    <a:pt x="29" y="24"/>
                    <a:pt x="28" y="26"/>
                    <a:pt x="28" y="28"/>
                  </a:cubicBezTo>
                  <a:cubicBezTo>
                    <a:pt x="28" y="29"/>
                    <a:pt x="29" y="30"/>
                    <a:pt x="29" y="31"/>
                  </a:cubicBezTo>
                  <a:cubicBezTo>
                    <a:pt x="29" y="32"/>
                    <a:pt x="30" y="32"/>
                    <a:pt x="32" y="33"/>
                  </a:cubicBezTo>
                  <a:cubicBezTo>
                    <a:pt x="33" y="34"/>
                    <a:pt x="35" y="35"/>
                    <a:pt x="38" y="36"/>
                  </a:cubicBezTo>
                  <a:cubicBezTo>
                    <a:pt x="41" y="37"/>
                    <a:pt x="44" y="38"/>
                    <a:pt x="48" y="39"/>
                  </a:cubicBezTo>
                  <a:cubicBezTo>
                    <a:pt x="53" y="41"/>
                    <a:pt x="57" y="42"/>
                    <a:pt x="61" y="44"/>
                  </a:cubicBezTo>
                  <a:cubicBezTo>
                    <a:pt x="65" y="46"/>
                    <a:pt x="68" y="48"/>
                    <a:pt x="71" y="50"/>
                  </a:cubicBezTo>
                  <a:cubicBezTo>
                    <a:pt x="74" y="52"/>
                    <a:pt x="76" y="55"/>
                    <a:pt x="78" y="59"/>
                  </a:cubicBezTo>
                  <a:cubicBezTo>
                    <a:pt x="80" y="62"/>
                    <a:pt x="81" y="66"/>
                    <a:pt x="81" y="71"/>
                  </a:cubicBezTo>
                  <a:cubicBezTo>
                    <a:pt x="81" y="76"/>
                    <a:pt x="80" y="81"/>
                    <a:pt x="78" y="85"/>
                  </a:cubicBezTo>
                  <a:cubicBezTo>
                    <a:pt x="76" y="89"/>
                    <a:pt x="73" y="92"/>
                    <a:pt x="69" y="94"/>
                  </a:cubicBezTo>
                  <a:cubicBezTo>
                    <a:pt x="66" y="97"/>
                    <a:pt x="61" y="98"/>
                    <a:pt x="57" y="100"/>
                  </a:cubicBezTo>
                  <a:cubicBezTo>
                    <a:pt x="52" y="101"/>
                    <a:pt x="47" y="101"/>
                    <a:pt x="41" y="101"/>
                  </a:cubicBezTo>
                  <a:cubicBezTo>
                    <a:pt x="34" y="101"/>
                    <a:pt x="26" y="100"/>
                    <a:pt x="19" y="98"/>
                  </a:cubicBezTo>
                  <a:cubicBezTo>
                    <a:pt x="12" y="96"/>
                    <a:pt x="6" y="93"/>
                    <a:pt x="0" y="90"/>
                  </a:cubicBezTo>
                  <a:cubicBezTo>
                    <a:pt x="9" y="70"/>
                    <a:pt x="9" y="70"/>
                    <a:pt x="9" y="70"/>
                  </a:cubicBezTo>
                  <a:cubicBezTo>
                    <a:pt x="14" y="73"/>
                    <a:pt x="20" y="76"/>
                    <a:pt x="25" y="77"/>
                  </a:cubicBezTo>
                  <a:cubicBezTo>
                    <a:pt x="31" y="79"/>
                    <a:pt x="36" y="79"/>
                    <a:pt x="43" y="79"/>
                  </a:cubicBezTo>
                  <a:cubicBezTo>
                    <a:pt x="47" y="79"/>
                    <a:pt x="51" y="79"/>
                    <a:pt x="53" y="78"/>
                  </a:cubicBezTo>
                  <a:cubicBezTo>
                    <a:pt x="55" y="76"/>
                    <a:pt x="56" y="75"/>
                    <a:pt x="56" y="72"/>
                  </a:cubicBezTo>
                  <a:cubicBezTo>
                    <a:pt x="56" y="71"/>
                    <a:pt x="55" y="70"/>
                    <a:pt x="55" y="69"/>
                  </a:cubicBezTo>
                  <a:cubicBezTo>
                    <a:pt x="54" y="68"/>
                    <a:pt x="54" y="67"/>
                    <a:pt x="53" y="67"/>
                  </a:cubicBezTo>
                  <a:cubicBezTo>
                    <a:pt x="51" y="66"/>
                    <a:pt x="50" y="65"/>
                    <a:pt x="48" y="64"/>
                  </a:cubicBezTo>
                  <a:cubicBezTo>
                    <a:pt x="46" y="64"/>
                    <a:pt x="44" y="63"/>
                    <a:pt x="41" y="62"/>
                  </a:cubicBezTo>
                  <a:cubicBezTo>
                    <a:pt x="36" y="60"/>
                    <a:pt x="30" y="59"/>
                    <a:pt x="26" y="57"/>
                  </a:cubicBezTo>
                  <a:cubicBezTo>
                    <a:pt x="21" y="55"/>
                    <a:pt x="17" y="53"/>
                    <a:pt x="13" y="51"/>
                  </a:cubicBezTo>
                  <a:cubicBezTo>
                    <a:pt x="10" y="48"/>
                    <a:pt x="8" y="45"/>
                    <a:pt x="6" y="42"/>
                  </a:cubicBezTo>
                  <a:cubicBezTo>
                    <a:pt x="4" y="38"/>
                    <a:pt x="3" y="34"/>
                    <a:pt x="3" y="29"/>
                  </a:cubicBezTo>
                  <a:cubicBezTo>
                    <a:pt x="3" y="24"/>
                    <a:pt x="4" y="19"/>
                    <a:pt x="6" y="16"/>
                  </a:cubicBezTo>
                  <a:cubicBezTo>
                    <a:pt x="8" y="12"/>
                    <a:pt x="10" y="9"/>
                    <a:pt x="14" y="7"/>
                  </a:cubicBezTo>
                  <a:cubicBezTo>
                    <a:pt x="17" y="4"/>
                    <a:pt x="21" y="3"/>
                    <a:pt x="26" y="2"/>
                  </a:cubicBezTo>
                  <a:cubicBezTo>
                    <a:pt x="31" y="0"/>
                    <a:pt x="36" y="0"/>
                    <a:pt x="42" y="0"/>
                  </a:cubicBezTo>
                  <a:cubicBezTo>
                    <a:pt x="48" y="0"/>
                    <a:pt x="54" y="1"/>
                    <a:pt x="61" y="3"/>
                  </a:cubicBezTo>
                  <a:cubicBezTo>
                    <a:pt x="67" y="4"/>
                    <a:pt x="73" y="7"/>
                    <a:pt x="78" y="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25">
              <a:extLst>
                <a:ext uri="{FF2B5EF4-FFF2-40B4-BE49-F238E27FC236}">
                  <a16:creationId xmlns:a16="http://schemas.microsoft.com/office/drawing/2014/main" id="{5A85C156-A249-4B2C-8A44-A8D8A3A0EEFE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226000" y="1430515"/>
              <a:ext cx="58837" cy="69297"/>
            </a:xfrm>
            <a:custGeom>
              <a:avLst/>
              <a:gdLst>
                <a:gd name="T0" fmla="*/ 85 w 85"/>
                <a:gd name="T1" fmla="*/ 80 h 101"/>
                <a:gd name="T2" fmla="*/ 77 w 85"/>
                <a:gd name="T3" fmla="*/ 88 h 101"/>
                <a:gd name="T4" fmla="*/ 69 w 85"/>
                <a:gd name="T5" fmla="*/ 95 h 101"/>
                <a:gd name="T6" fmla="*/ 58 w 85"/>
                <a:gd name="T7" fmla="*/ 100 h 101"/>
                <a:gd name="T8" fmla="*/ 45 w 85"/>
                <a:gd name="T9" fmla="*/ 101 h 101"/>
                <a:gd name="T10" fmla="*/ 27 w 85"/>
                <a:gd name="T11" fmla="*/ 98 h 101"/>
                <a:gd name="T12" fmla="*/ 13 w 85"/>
                <a:gd name="T13" fmla="*/ 87 h 101"/>
                <a:gd name="T14" fmla="*/ 3 w 85"/>
                <a:gd name="T15" fmla="*/ 71 h 101"/>
                <a:gd name="T16" fmla="*/ 0 w 85"/>
                <a:gd name="T17" fmla="*/ 51 h 101"/>
                <a:gd name="T18" fmla="*/ 3 w 85"/>
                <a:gd name="T19" fmla="*/ 30 h 101"/>
                <a:gd name="T20" fmla="*/ 13 w 85"/>
                <a:gd name="T21" fmla="*/ 14 h 101"/>
                <a:gd name="T22" fmla="*/ 28 w 85"/>
                <a:gd name="T23" fmla="*/ 4 h 101"/>
                <a:gd name="T24" fmla="*/ 46 w 85"/>
                <a:gd name="T25" fmla="*/ 0 h 101"/>
                <a:gd name="T26" fmla="*/ 68 w 85"/>
                <a:gd name="T27" fmla="*/ 5 h 101"/>
                <a:gd name="T28" fmla="*/ 85 w 85"/>
                <a:gd name="T29" fmla="*/ 21 h 101"/>
                <a:gd name="T30" fmla="*/ 68 w 85"/>
                <a:gd name="T31" fmla="*/ 38 h 101"/>
                <a:gd name="T32" fmla="*/ 63 w 85"/>
                <a:gd name="T33" fmla="*/ 33 h 101"/>
                <a:gd name="T34" fmla="*/ 58 w 85"/>
                <a:gd name="T35" fmla="*/ 28 h 101"/>
                <a:gd name="T36" fmla="*/ 53 w 85"/>
                <a:gd name="T37" fmla="*/ 26 h 101"/>
                <a:gd name="T38" fmla="*/ 46 w 85"/>
                <a:gd name="T39" fmla="*/ 25 h 101"/>
                <a:gd name="T40" fmla="*/ 37 w 85"/>
                <a:gd name="T41" fmla="*/ 26 h 101"/>
                <a:gd name="T42" fmla="*/ 31 w 85"/>
                <a:gd name="T43" fmla="*/ 32 h 101"/>
                <a:gd name="T44" fmla="*/ 27 w 85"/>
                <a:gd name="T45" fmla="*/ 40 h 101"/>
                <a:gd name="T46" fmla="*/ 26 w 85"/>
                <a:gd name="T47" fmla="*/ 51 h 101"/>
                <a:gd name="T48" fmla="*/ 27 w 85"/>
                <a:gd name="T49" fmla="*/ 61 h 101"/>
                <a:gd name="T50" fmla="*/ 31 w 85"/>
                <a:gd name="T51" fmla="*/ 69 h 101"/>
                <a:gd name="T52" fmla="*/ 37 w 85"/>
                <a:gd name="T53" fmla="*/ 75 h 101"/>
                <a:gd name="T54" fmla="*/ 46 w 85"/>
                <a:gd name="T55" fmla="*/ 77 h 101"/>
                <a:gd name="T56" fmla="*/ 52 w 85"/>
                <a:gd name="T57" fmla="*/ 76 h 101"/>
                <a:gd name="T58" fmla="*/ 58 w 85"/>
                <a:gd name="T59" fmla="*/ 73 h 101"/>
                <a:gd name="T60" fmla="*/ 64 w 85"/>
                <a:gd name="T61" fmla="*/ 69 h 101"/>
                <a:gd name="T62" fmla="*/ 69 w 85"/>
                <a:gd name="T63" fmla="*/ 64 h 101"/>
                <a:gd name="T64" fmla="*/ 85 w 85"/>
                <a:gd name="T65" fmla="*/ 8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5" h="101">
                  <a:moveTo>
                    <a:pt x="85" y="80"/>
                  </a:moveTo>
                  <a:cubicBezTo>
                    <a:pt x="83" y="83"/>
                    <a:pt x="80" y="86"/>
                    <a:pt x="77" y="88"/>
                  </a:cubicBezTo>
                  <a:cubicBezTo>
                    <a:pt x="75" y="91"/>
                    <a:pt x="72" y="93"/>
                    <a:pt x="69" y="95"/>
                  </a:cubicBezTo>
                  <a:cubicBezTo>
                    <a:pt x="65" y="97"/>
                    <a:pt x="62" y="98"/>
                    <a:pt x="58" y="100"/>
                  </a:cubicBezTo>
                  <a:cubicBezTo>
                    <a:pt x="54" y="101"/>
                    <a:pt x="50" y="101"/>
                    <a:pt x="45" y="101"/>
                  </a:cubicBezTo>
                  <a:cubicBezTo>
                    <a:pt x="39" y="101"/>
                    <a:pt x="33" y="100"/>
                    <a:pt x="27" y="98"/>
                  </a:cubicBezTo>
                  <a:cubicBezTo>
                    <a:pt x="22" y="95"/>
                    <a:pt x="17" y="92"/>
                    <a:pt x="13" y="87"/>
                  </a:cubicBezTo>
                  <a:cubicBezTo>
                    <a:pt x="9" y="83"/>
                    <a:pt x="5" y="77"/>
                    <a:pt x="3" y="71"/>
                  </a:cubicBezTo>
                  <a:cubicBezTo>
                    <a:pt x="1" y="65"/>
                    <a:pt x="0" y="58"/>
                    <a:pt x="0" y="51"/>
                  </a:cubicBezTo>
                  <a:cubicBezTo>
                    <a:pt x="0" y="43"/>
                    <a:pt x="1" y="36"/>
                    <a:pt x="3" y="30"/>
                  </a:cubicBezTo>
                  <a:cubicBezTo>
                    <a:pt x="5" y="24"/>
                    <a:pt x="9" y="19"/>
                    <a:pt x="13" y="14"/>
                  </a:cubicBezTo>
                  <a:cubicBezTo>
                    <a:pt x="17" y="10"/>
                    <a:pt x="22" y="6"/>
                    <a:pt x="28" y="4"/>
                  </a:cubicBezTo>
                  <a:cubicBezTo>
                    <a:pt x="33" y="1"/>
                    <a:pt x="39" y="0"/>
                    <a:pt x="46" y="0"/>
                  </a:cubicBezTo>
                  <a:cubicBezTo>
                    <a:pt x="54" y="0"/>
                    <a:pt x="62" y="2"/>
                    <a:pt x="68" y="5"/>
                  </a:cubicBezTo>
                  <a:cubicBezTo>
                    <a:pt x="74" y="9"/>
                    <a:pt x="80" y="14"/>
                    <a:pt x="85" y="21"/>
                  </a:cubicBezTo>
                  <a:cubicBezTo>
                    <a:pt x="68" y="38"/>
                    <a:pt x="68" y="38"/>
                    <a:pt x="68" y="38"/>
                  </a:cubicBezTo>
                  <a:cubicBezTo>
                    <a:pt x="66" y="36"/>
                    <a:pt x="65" y="35"/>
                    <a:pt x="63" y="33"/>
                  </a:cubicBezTo>
                  <a:cubicBezTo>
                    <a:pt x="62" y="31"/>
                    <a:pt x="60" y="30"/>
                    <a:pt x="58" y="28"/>
                  </a:cubicBezTo>
                  <a:cubicBezTo>
                    <a:pt x="57" y="27"/>
                    <a:pt x="55" y="26"/>
                    <a:pt x="53" y="26"/>
                  </a:cubicBezTo>
                  <a:cubicBezTo>
                    <a:pt x="51" y="25"/>
                    <a:pt x="48" y="25"/>
                    <a:pt x="46" y="25"/>
                  </a:cubicBezTo>
                  <a:cubicBezTo>
                    <a:pt x="43" y="25"/>
                    <a:pt x="40" y="25"/>
                    <a:pt x="37" y="26"/>
                  </a:cubicBezTo>
                  <a:cubicBezTo>
                    <a:pt x="35" y="28"/>
                    <a:pt x="33" y="29"/>
                    <a:pt x="31" y="32"/>
                  </a:cubicBezTo>
                  <a:cubicBezTo>
                    <a:pt x="29" y="34"/>
                    <a:pt x="28" y="37"/>
                    <a:pt x="27" y="40"/>
                  </a:cubicBezTo>
                  <a:cubicBezTo>
                    <a:pt x="26" y="43"/>
                    <a:pt x="26" y="47"/>
                    <a:pt x="26" y="51"/>
                  </a:cubicBezTo>
                  <a:cubicBezTo>
                    <a:pt x="26" y="55"/>
                    <a:pt x="26" y="58"/>
                    <a:pt x="27" y="61"/>
                  </a:cubicBezTo>
                  <a:cubicBezTo>
                    <a:pt x="28" y="64"/>
                    <a:pt x="29" y="67"/>
                    <a:pt x="31" y="69"/>
                  </a:cubicBezTo>
                  <a:cubicBezTo>
                    <a:pt x="33" y="72"/>
                    <a:pt x="35" y="73"/>
                    <a:pt x="37" y="75"/>
                  </a:cubicBezTo>
                  <a:cubicBezTo>
                    <a:pt x="40" y="76"/>
                    <a:pt x="43" y="77"/>
                    <a:pt x="46" y="77"/>
                  </a:cubicBezTo>
                  <a:cubicBezTo>
                    <a:pt x="48" y="77"/>
                    <a:pt x="50" y="76"/>
                    <a:pt x="52" y="76"/>
                  </a:cubicBezTo>
                  <a:cubicBezTo>
                    <a:pt x="55" y="75"/>
                    <a:pt x="57" y="74"/>
                    <a:pt x="58" y="73"/>
                  </a:cubicBezTo>
                  <a:cubicBezTo>
                    <a:pt x="60" y="72"/>
                    <a:pt x="62" y="71"/>
                    <a:pt x="64" y="69"/>
                  </a:cubicBezTo>
                  <a:cubicBezTo>
                    <a:pt x="65" y="68"/>
                    <a:pt x="67" y="66"/>
                    <a:pt x="69" y="64"/>
                  </a:cubicBezTo>
                  <a:lnTo>
                    <a:pt x="85" y="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38" name="Freeform 26">
              <a:extLst>
                <a:ext uri="{FF2B5EF4-FFF2-40B4-BE49-F238E27FC236}">
                  <a16:creationId xmlns:a16="http://schemas.microsoft.com/office/drawing/2014/main" id="{91225174-20DB-4A4F-A5BB-9A114EDC0F3E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297911" y="1406980"/>
              <a:ext cx="57529" cy="91524"/>
            </a:xfrm>
            <a:custGeom>
              <a:avLst/>
              <a:gdLst>
                <a:gd name="T0" fmla="*/ 59 w 84"/>
                <a:gd name="T1" fmla="*/ 135 h 135"/>
                <a:gd name="T2" fmla="*/ 59 w 84"/>
                <a:gd name="T3" fmla="*/ 83 h 135"/>
                <a:gd name="T4" fmla="*/ 55 w 84"/>
                <a:gd name="T5" fmla="*/ 66 h 135"/>
                <a:gd name="T6" fmla="*/ 42 w 84"/>
                <a:gd name="T7" fmla="*/ 60 h 135"/>
                <a:gd name="T8" fmla="*/ 35 w 84"/>
                <a:gd name="T9" fmla="*/ 61 h 135"/>
                <a:gd name="T10" fmla="*/ 30 w 84"/>
                <a:gd name="T11" fmla="*/ 65 h 135"/>
                <a:gd name="T12" fmla="*/ 27 w 84"/>
                <a:gd name="T13" fmla="*/ 71 h 135"/>
                <a:gd name="T14" fmla="*/ 25 w 84"/>
                <a:gd name="T15" fmla="*/ 82 h 135"/>
                <a:gd name="T16" fmla="*/ 25 w 84"/>
                <a:gd name="T17" fmla="*/ 135 h 135"/>
                <a:gd name="T18" fmla="*/ 0 w 84"/>
                <a:gd name="T19" fmla="*/ 135 h 135"/>
                <a:gd name="T20" fmla="*/ 0 w 84"/>
                <a:gd name="T21" fmla="*/ 13 h 135"/>
                <a:gd name="T22" fmla="*/ 25 w 84"/>
                <a:gd name="T23" fmla="*/ 0 h 135"/>
                <a:gd name="T24" fmla="*/ 25 w 84"/>
                <a:gd name="T25" fmla="*/ 44 h 135"/>
                <a:gd name="T26" fmla="*/ 29 w 84"/>
                <a:gd name="T27" fmla="*/ 41 h 135"/>
                <a:gd name="T28" fmla="*/ 35 w 84"/>
                <a:gd name="T29" fmla="*/ 38 h 135"/>
                <a:gd name="T30" fmla="*/ 41 w 84"/>
                <a:gd name="T31" fmla="*/ 37 h 135"/>
                <a:gd name="T32" fmla="*/ 48 w 84"/>
                <a:gd name="T33" fmla="*/ 36 h 135"/>
                <a:gd name="T34" fmla="*/ 64 w 84"/>
                <a:gd name="T35" fmla="*/ 39 h 135"/>
                <a:gd name="T36" fmla="*/ 75 w 84"/>
                <a:gd name="T37" fmla="*/ 48 h 135"/>
                <a:gd name="T38" fmla="*/ 82 w 84"/>
                <a:gd name="T39" fmla="*/ 62 h 135"/>
                <a:gd name="T40" fmla="*/ 84 w 84"/>
                <a:gd name="T41" fmla="*/ 80 h 135"/>
                <a:gd name="T42" fmla="*/ 84 w 84"/>
                <a:gd name="T43" fmla="*/ 135 h 135"/>
                <a:gd name="T44" fmla="*/ 59 w 84"/>
                <a:gd name="T45" fmla="*/ 135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4" h="135">
                  <a:moveTo>
                    <a:pt x="59" y="135"/>
                  </a:moveTo>
                  <a:cubicBezTo>
                    <a:pt x="59" y="83"/>
                    <a:pt x="59" y="83"/>
                    <a:pt x="59" y="83"/>
                  </a:cubicBezTo>
                  <a:cubicBezTo>
                    <a:pt x="59" y="75"/>
                    <a:pt x="57" y="69"/>
                    <a:pt x="55" y="66"/>
                  </a:cubicBezTo>
                  <a:cubicBezTo>
                    <a:pt x="52" y="62"/>
                    <a:pt x="48" y="60"/>
                    <a:pt x="42" y="60"/>
                  </a:cubicBezTo>
                  <a:cubicBezTo>
                    <a:pt x="39" y="60"/>
                    <a:pt x="37" y="60"/>
                    <a:pt x="35" y="61"/>
                  </a:cubicBezTo>
                  <a:cubicBezTo>
                    <a:pt x="33" y="62"/>
                    <a:pt x="31" y="63"/>
                    <a:pt x="30" y="65"/>
                  </a:cubicBezTo>
                  <a:cubicBezTo>
                    <a:pt x="28" y="66"/>
                    <a:pt x="27" y="69"/>
                    <a:pt x="27" y="71"/>
                  </a:cubicBezTo>
                  <a:cubicBezTo>
                    <a:pt x="26" y="74"/>
                    <a:pt x="25" y="78"/>
                    <a:pt x="25" y="82"/>
                  </a:cubicBezTo>
                  <a:cubicBezTo>
                    <a:pt x="25" y="135"/>
                    <a:pt x="25" y="135"/>
                    <a:pt x="25" y="135"/>
                  </a:cubicBezTo>
                  <a:cubicBezTo>
                    <a:pt x="0" y="135"/>
                    <a:pt x="0" y="135"/>
                    <a:pt x="0" y="135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44"/>
                    <a:pt x="25" y="44"/>
                    <a:pt x="25" y="44"/>
                  </a:cubicBezTo>
                  <a:cubicBezTo>
                    <a:pt x="27" y="43"/>
                    <a:pt x="28" y="42"/>
                    <a:pt x="29" y="41"/>
                  </a:cubicBezTo>
                  <a:cubicBezTo>
                    <a:pt x="31" y="40"/>
                    <a:pt x="33" y="39"/>
                    <a:pt x="35" y="38"/>
                  </a:cubicBezTo>
                  <a:cubicBezTo>
                    <a:pt x="37" y="38"/>
                    <a:pt x="39" y="37"/>
                    <a:pt x="41" y="37"/>
                  </a:cubicBezTo>
                  <a:cubicBezTo>
                    <a:pt x="43" y="36"/>
                    <a:pt x="46" y="36"/>
                    <a:pt x="48" y="36"/>
                  </a:cubicBezTo>
                  <a:cubicBezTo>
                    <a:pt x="54" y="36"/>
                    <a:pt x="60" y="37"/>
                    <a:pt x="64" y="39"/>
                  </a:cubicBezTo>
                  <a:cubicBezTo>
                    <a:pt x="69" y="41"/>
                    <a:pt x="73" y="44"/>
                    <a:pt x="75" y="48"/>
                  </a:cubicBezTo>
                  <a:cubicBezTo>
                    <a:pt x="78" y="52"/>
                    <a:pt x="81" y="56"/>
                    <a:pt x="82" y="62"/>
                  </a:cubicBezTo>
                  <a:cubicBezTo>
                    <a:pt x="83" y="67"/>
                    <a:pt x="84" y="74"/>
                    <a:pt x="84" y="80"/>
                  </a:cubicBezTo>
                  <a:cubicBezTo>
                    <a:pt x="84" y="135"/>
                    <a:pt x="84" y="135"/>
                    <a:pt x="84" y="135"/>
                  </a:cubicBezTo>
                  <a:lnTo>
                    <a:pt x="59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39" name="Freeform 27">
              <a:extLst>
                <a:ext uri="{FF2B5EF4-FFF2-40B4-BE49-F238E27FC236}">
                  <a16:creationId xmlns:a16="http://schemas.microsoft.com/office/drawing/2014/main" id="{43682DD6-D2ED-4863-B27B-40F3CBE0E381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372438" y="1406980"/>
              <a:ext cx="16998" cy="91524"/>
            </a:xfrm>
            <a:custGeom>
              <a:avLst/>
              <a:gdLst>
                <a:gd name="T0" fmla="*/ 0 w 13"/>
                <a:gd name="T1" fmla="*/ 70 h 70"/>
                <a:gd name="T2" fmla="*/ 0 w 13"/>
                <a:gd name="T3" fmla="*/ 6 h 70"/>
                <a:gd name="T4" fmla="*/ 13 w 13"/>
                <a:gd name="T5" fmla="*/ 0 h 70"/>
                <a:gd name="T6" fmla="*/ 13 w 13"/>
                <a:gd name="T7" fmla="*/ 70 h 70"/>
                <a:gd name="T8" fmla="*/ 0 w 13"/>
                <a:gd name="T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70">
                  <a:moveTo>
                    <a:pt x="0" y="70"/>
                  </a:moveTo>
                  <a:lnTo>
                    <a:pt x="0" y="6"/>
                  </a:lnTo>
                  <a:lnTo>
                    <a:pt x="13" y="0"/>
                  </a:lnTo>
                  <a:lnTo>
                    <a:pt x="13" y="70"/>
                  </a:lnTo>
                  <a:lnTo>
                    <a:pt x="0" y="7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40" name="Freeform 28">
              <a:extLst>
                <a:ext uri="{FF2B5EF4-FFF2-40B4-BE49-F238E27FC236}">
                  <a16:creationId xmlns:a16="http://schemas.microsoft.com/office/drawing/2014/main" id="{3D572001-B851-4D74-9AAD-13EE61D916F6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10403818" y="1430515"/>
              <a:ext cx="57529" cy="69297"/>
            </a:xfrm>
            <a:custGeom>
              <a:avLst/>
              <a:gdLst>
                <a:gd name="T0" fmla="*/ 58 w 83"/>
                <a:gd name="T1" fmla="*/ 99 h 101"/>
                <a:gd name="T2" fmla="*/ 58 w 83"/>
                <a:gd name="T3" fmla="*/ 93 h 101"/>
                <a:gd name="T4" fmla="*/ 54 w 83"/>
                <a:gd name="T5" fmla="*/ 96 h 101"/>
                <a:gd name="T6" fmla="*/ 49 w 83"/>
                <a:gd name="T7" fmla="*/ 99 h 101"/>
                <a:gd name="T8" fmla="*/ 42 w 83"/>
                <a:gd name="T9" fmla="*/ 101 h 101"/>
                <a:gd name="T10" fmla="*/ 36 w 83"/>
                <a:gd name="T11" fmla="*/ 101 h 101"/>
                <a:gd name="T12" fmla="*/ 23 w 83"/>
                <a:gd name="T13" fmla="*/ 99 h 101"/>
                <a:gd name="T14" fmla="*/ 11 w 83"/>
                <a:gd name="T15" fmla="*/ 93 h 101"/>
                <a:gd name="T16" fmla="*/ 3 w 83"/>
                <a:gd name="T17" fmla="*/ 82 h 101"/>
                <a:gd name="T18" fmla="*/ 0 w 83"/>
                <a:gd name="T19" fmla="*/ 67 h 101"/>
                <a:gd name="T20" fmla="*/ 3 w 83"/>
                <a:gd name="T21" fmla="*/ 53 h 101"/>
                <a:gd name="T22" fmla="*/ 11 w 83"/>
                <a:gd name="T23" fmla="*/ 42 h 101"/>
                <a:gd name="T24" fmla="*/ 24 w 83"/>
                <a:gd name="T25" fmla="*/ 36 h 101"/>
                <a:gd name="T26" fmla="*/ 39 w 83"/>
                <a:gd name="T27" fmla="*/ 34 h 101"/>
                <a:gd name="T28" fmla="*/ 50 w 83"/>
                <a:gd name="T29" fmla="*/ 36 h 101"/>
                <a:gd name="T30" fmla="*/ 58 w 83"/>
                <a:gd name="T31" fmla="*/ 38 h 101"/>
                <a:gd name="T32" fmla="*/ 58 w 83"/>
                <a:gd name="T33" fmla="*/ 33 h 101"/>
                <a:gd name="T34" fmla="*/ 54 w 83"/>
                <a:gd name="T35" fmla="*/ 25 h 101"/>
                <a:gd name="T36" fmla="*/ 44 w 83"/>
                <a:gd name="T37" fmla="*/ 21 h 101"/>
                <a:gd name="T38" fmla="*/ 30 w 83"/>
                <a:gd name="T39" fmla="*/ 22 h 101"/>
                <a:gd name="T40" fmla="*/ 17 w 83"/>
                <a:gd name="T41" fmla="*/ 27 h 101"/>
                <a:gd name="T42" fmla="*/ 7 w 83"/>
                <a:gd name="T43" fmla="*/ 10 h 101"/>
                <a:gd name="T44" fmla="*/ 25 w 83"/>
                <a:gd name="T45" fmla="*/ 2 h 101"/>
                <a:gd name="T46" fmla="*/ 44 w 83"/>
                <a:gd name="T47" fmla="*/ 0 h 101"/>
                <a:gd name="T48" fmla="*/ 60 w 83"/>
                <a:gd name="T49" fmla="*/ 2 h 101"/>
                <a:gd name="T50" fmla="*/ 72 w 83"/>
                <a:gd name="T51" fmla="*/ 9 h 101"/>
                <a:gd name="T52" fmla="*/ 80 w 83"/>
                <a:gd name="T53" fmla="*/ 19 h 101"/>
                <a:gd name="T54" fmla="*/ 83 w 83"/>
                <a:gd name="T55" fmla="*/ 34 h 101"/>
                <a:gd name="T56" fmla="*/ 83 w 83"/>
                <a:gd name="T57" fmla="*/ 99 h 101"/>
                <a:gd name="T58" fmla="*/ 58 w 83"/>
                <a:gd name="T59" fmla="*/ 99 h 101"/>
                <a:gd name="T60" fmla="*/ 58 w 83"/>
                <a:gd name="T61" fmla="*/ 58 h 101"/>
                <a:gd name="T62" fmla="*/ 54 w 83"/>
                <a:gd name="T63" fmla="*/ 57 h 101"/>
                <a:gd name="T64" fmla="*/ 51 w 83"/>
                <a:gd name="T65" fmla="*/ 55 h 101"/>
                <a:gd name="T66" fmla="*/ 46 w 83"/>
                <a:gd name="T67" fmla="*/ 55 h 101"/>
                <a:gd name="T68" fmla="*/ 40 w 83"/>
                <a:gd name="T69" fmla="*/ 54 h 101"/>
                <a:gd name="T70" fmla="*/ 29 w 83"/>
                <a:gd name="T71" fmla="*/ 58 h 101"/>
                <a:gd name="T72" fmla="*/ 25 w 83"/>
                <a:gd name="T73" fmla="*/ 67 h 101"/>
                <a:gd name="T74" fmla="*/ 26 w 83"/>
                <a:gd name="T75" fmla="*/ 71 h 101"/>
                <a:gd name="T76" fmla="*/ 28 w 83"/>
                <a:gd name="T77" fmla="*/ 76 h 101"/>
                <a:gd name="T78" fmla="*/ 33 w 83"/>
                <a:gd name="T79" fmla="*/ 78 h 101"/>
                <a:gd name="T80" fmla="*/ 40 w 83"/>
                <a:gd name="T81" fmla="*/ 80 h 101"/>
                <a:gd name="T82" fmla="*/ 46 w 83"/>
                <a:gd name="T83" fmla="*/ 79 h 101"/>
                <a:gd name="T84" fmla="*/ 51 w 83"/>
                <a:gd name="T85" fmla="*/ 77 h 101"/>
                <a:gd name="T86" fmla="*/ 55 w 83"/>
                <a:gd name="T87" fmla="*/ 74 h 101"/>
                <a:gd name="T88" fmla="*/ 58 w 83"/>
                <a:gd name="T89" fmla="*/ 71 h 101"/>
                <a:gd name="T90" fmla="*/ 58 w 83"/>
                <a:gd name="T91" fmla="*/ 5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83" h="101">
                  <a:moveTo>
                    <a:pt x="58" y="99"/>
                  </a:moveTo>
                  <a:cubicBezTo>
                    <a:pt x="58" y="93"/>
                    <a:pt x="58" y="93"/>
                    <a:pt x="58" y="93"/>
                  </a:cubicBezTo>
                  <a:cubicBezTo>
                    <a:pt x="57" y="94"/>
                    <a:pt x="55" y="95"/>
                    <a:pt x="54" y="96"/>
                  </a:cubicBezTo>
                  <a:cubicBezTo>
                    <a:pt x="52" y="97"/>
                    <a:pt x="51" y="98"/>
                    <a:pt x="49" y="99"/>
                  </a:cubicBezTo>
                  <a:cubicBezTo>
                    <a:pt x="47" y="100"/>
                    <a:pt x="44" y="100"/>
                    <a:pt x="42" y="101"/>
                  </a:cubicBezTo>
                  <a:cubicBezTo>
                    <a:pt x="40" y="101"/>
                    <a:pt x="38" y="101"/>
                    <a:pt x="36" y="101"/>
                  </a:cubicBezTo>
                  <a:cubicBezTo>
                    <a:pt x="31" y="101"/>
                    <a:pt x="27" y="100"/>
                    <a:pt x="23" y="99"/>
                  </a:cubicBezTo>
                  <a:cubicBezTo>
                    <a:pt x="18" y="98"/>
                    <a:pt x="14" y="96"/>
                    <a:pt x="11" y="93"/>
                  </a:cubicBezTo>
                  <a:cubicBezTo>
                    <a:pt x="8" y="90"/>
                    <a:pt x="5" y="86"/>
                    <a:pt x="3" y="82"/>
                  </a:cubicBezTo>
                  <a:cubicBezTo>
                    <a:pt x="1" y="78"/>
                    <a:pt x="0" y="73"/>
                    <a:pt x="0" y="67"/>
                  </a:cubicBezTo>
                  <a:cubicBezTo>
                    <a:pt x="0" y="61"/>
                    <a:pt x="1" y="57"/>
                    <a:pt x="3" y="53"/>
                  </a:cubicBezTo>
                  <a:cubicBezTo>
                    <a:pt x="5" y="48"/>
                    <a:pt x="8" y="45"/>
                    <a:pt x="11" y="42"/>
                  </a:cubicBezTo>
                  <a:cubicBezTo>
                    <a:pt x="15" y="40"/>
                    <a:pt x="19" y="38"/>
                    <a:pt x="24" y="36"/>
                  </a:cubicBezTo>
                  <a:cubicBezTo>
                    <a:pt x="28" y="35"/>
                    <a:pt x="33" y="34"/>
                    <a:pt x="39" y="34"/>
                  </a:cubicBezTo>
                  <a:cubicBezTo>
                    <a:pt x="43" y="34"/>
                    <a:pt x="47" y="35"/>
                    <a:pt x="50" y="36"/>
                  </a:cubicBezTo>
                  <a:cubicBezTo>
                    <a:pt x="53" y="36"/>
                    <a:pt x="56" y="37"/>
                    <a:pt x="58" y="38"/>
                  </a:cubicBezTo>
                  <a:cubicBezTo>
                    <a:pt x="58" y="33"/>
                    <a:pt x="58" y="33"/>
                    <a:pt x="58" y="33"/>
                  </a:cubicBezTo>
                  <a:cubicBezTo>
                    <a:pt x="58" y="30"/>
                    <a:pt x="56" y="27"/>
                    <a:pt x="54" y="25"/>
                  </a:cubicBezTo>
                  <a:cubicBezTo>
                    <a:pt x="52" y="22"/>
                    <a:pt x="48" y="21"/>
                    <a:pt x="44" y="21"/>
                  </a:cubicBezTo>
                  <a:cubicBezTo>
                    <a:pt x="38" y="21"/>
                    <a:pt x="33" y="21"/>
                    <a:pt x="30" y="22"/>
                  </a:cubicBezTo>
                  <a:cubicBezTo>
                    <a:pt x="26" y="23"/>
                    <a:pt x="22" y="25"/>
                    <a:pt x="17" y="27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14" y="6"/>
                    <a:pt x="19" y="4"/>
                    <a:pt x="25" y="2"/>
                  </a:cubicBezTo>
                  <a:cubicBezTo>
                    <a:pt x="30" y="1"/>
                    <a:pt x="37" y="0"/>
                    <a:pt x="44" y="0"/>
                  </a:cubicBezTo>
                  <a:cubicBezTo>
                    <a:pt x="50" y="0"/>
                    <a:pt x="55" y="1"/>
                    <a:pt x="60" y="2"/>
                  </a:cubicBezTo>
                  <a:cubicBezTo>
                    <a:pt x="65" y="4"/>
                    <a:pt x="69" y="6"/>
                    <a:pt x="72" y="9"/>
                  </a:cubicBezTo>
                  <a:cubicBezTo>
                    <a:pt x="76" y="12"/>
                    <a:pt x="79" y="15"/>
                    <a:pt x="80" y="19"/>
                  </a:cubicBezTo>
                  <a:cubicBezTo>
                    <a:pt x="82" y="24"/>
                    <a:pt x="83" y="29"/>
                    <a:pt x="83" y="34"/>
                  </a:cubicBezTo>
                  <a:cubicBezTo>
                    <a:pt x="83" y="99"/>
                    <a:pt x="83" y="99"/>
                    <a:pt x="83" y="99"/>
                  </a:cubicBezTo>
                  <a:lnTo>
                    <a:pt x="58" y="99"/>
                  </a:lnTo>
                  <a:close/>
                  <a:moveTo>
                    <a:pt x="58" y="58"/>
                  </a:moveTo>
                  <a:cubicBezTo>
                    <a:pt x="57" y="58"/>
                    <a:pt x="55" y="57"/>
                    <a:pt x="54" y="57"/>
                  </a:cubicBezTo>
                  <a:cubicBezTo>
                    <a:pt x="53" y="56"/>
                    <a:pt x="52" y="56"/>
                    <a:pt x="51" y="55"/>
                  </a:cubicBezTo>
                  <a:cubicBezTo>
                    <a:pt x="49" y="55"/>
                    <a:pt x="48" y="55"/>
                    <a:pt x="46" y="55"/>
                  </a:cubicBezTo>
                  <a:cubicBezTo>
                    <a:pt x="44" y="54"/>
                    <a:pt x="42" y="54"/>
                    <a:pt x="40" y="54"/>
                  </a:cubicBezTo>
                  <a:cubicBezTo>
                    <a:pt x="35" y="54"/>
                    <a:pt x="31" y="55"/>
                    <a:pt x="29" y="58"/>
                  </a:cubicBezTo>
                  <a:cubicBezTo>
                    <a:pt x="26" y="60"/>
                    <a:pt x="25" y="63"/>
                    <a:pt x="25" y="67"/>
                  </a:cubicBezTo>
                  <a:cubicBezTo>
                    <a:pt x="25" y="68"/>
                    <a:pt x="25" y="70"/>
                    <a:pt x="26" y="71"/>
                  </a:cubicBezTo>
                  <a:cubicBezTo>
                    <a:pt x="26" y="73"/>
                    <a:pt x="27" y="74"/>
                    <a:pt x="28" y="76"/>
                  </a:cubicBezTo>
                  <a:cubicBezTo>
                    <a:pt x="30" y="77"/>
                    <a:pt x="31" y="78"/>
                    <a:pt x="33" y="78"/>
                  </a:cubicBezTo>
                  <a:cubicBezTo>
                    <a:pt x="35" y="79"/>
                    <a:pt x="37" y="80"/>
                    <a:pt x="40" y="80"/>
                  </a:cubicBezTo>
                  <a:cubicBezTo>
                    <a:pt x="42" y="80"/>
                    <a:pt x="44" y="79"/>
                    <a:pt x="46" y="79"/>
                  </a:cubicBezTo>
                  <a:cubicBezTo>
                    <a:pt x="48" y="78"/>
                    <a:pt x="49" y="78"/>
                    <a:pt x="51" y="77"/>
                  </a:cubicBezTo>
                  <a:cubicBezTo>
                    <a:pt x="52" y="76"/>
                    <a:pt x="54" y="75"/>
                    <a:pt x="55" y="74"/>
                  </a:cubicBezTo>
                  <a:cubicBezTo>
                    <a:pt x="56" y="73"/>
                    <a:pt x="57" y="72"/>
                    <a:pt x="58" y="71"/>
                  </a:cubicBezTo>
                  <a:lnTo>
                    <a:pt x="58" y="5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41" name="Freeform 29">
              <a:extLst>
                <a:ext uri="{FF2B5EF4-FFF2-40B4-BE49-F238E27FC236}">
                  <a16:creationId xmlns:a16="http://schemas.microsoft.com/office/drawing/2014/main" id="{A827519A-33F0-4CCB-AE07-C95A795FF2FB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477037" y="1430515"/>
              <a:ext cx="57529" cy="67989"/>
            </a:xfrm>
            <a:custGeom>
              <a:avLst/>
              <a:gdLst>
                <a:gd name="T0" fmla="*/ 59 w 84"/>
                <a:gd name="T1" fmla="*/ 99 h 99"/>
                <a:gd name="T2" fmla="*/ 59 w 84"/>
                <a:gd name="T3" fmla="*/ 47 h 99"/>
                <a:gd name="T4" fmla="*/ 55 w 84"/>
                <a:gd name="T5" fmla="*/ 30 h 99"/>
                <a:gd name="T6" fmla="*/ 42 w 84"/>
                <a:gd name="T7" fmla="*/ 24 h 99"/>
                <a:gd name="T8" fmla="*/ 35 w 84"/>
                <a:gd name="T9" fmla="*/ 25 h 99"/>
                <a:gd name="T10" fmla="*/ 30 w 84"/>
                <a:gd name="T11" fmla="*/ 29 h 99"/>
                <a:gd name="T12" fmla="*/ 27 w 84"/>
                <a:gd name="T13" fmla="*/ 35 h 99"/>
                <a:gd name="T14" fmla="*/ 26 w 84"/>
                <a:gd name="T15" fmla="*/ 46 h 99"/>
                <a:gd name="T16" fmla="*/ 26 w 84"/>
                <a:gd name="T17" fmla="*/ 99 h 99"/>
                <a:gd name="T18" fmla="*/ 0 w 84"/>
                <a:gd name="T19" fmla="*/ 99 h 99"/>
                <a:gd name="T20" fmla="*/ 0 w 84"/>
                <a:gd name="T21" fmla="*/ 2 h 99"/>
                <a:gd name="T22" fmla="*/ 26 w 84"/>
                <a:gd name="T23" fmla="*/ 2 h 99"/>
                <a:gd name="T24" fmla="*/ 26 w 84"/>
                <a:gd name="T25" fmla="*/ 8 h 99"/>
                <a:gd name="T26" fmla="*/ 30 w 84"/>
                <a:gd name="T27" fmla="*/ 5 h 99"/>
                <a:gd name="T28" fmla="*/ 35 w 84"/>
                <a:gd name="T29" fmla="*/ 2 h 99"/>
                <a:gd name="T30" fmla="*/ 41 w 84"/>
                <a:gd name="T31" fmla="*/ 1 h 99"/>
                <a:gd name="T32" fmla="*/ 48 w 84"/>
                <a:gd name="T33" fmla="*/ 0 h 99"/>
                <a:gd name="T34" fmla="*/ 64 w 84"/>
                <a:gd name="T35" fmla="*/ 3 h 99"/>
                <a:gd name="T36" fmla="*/ 76 w 84"/>
                <a:gd name="T37" fmla="*/ 12 h 99"/>
                <a:gd name="T38" fmla="*/ 82 w 84"/>
                <a:gd name="T39" fmla="*/ 26 h 99"/>
                <a:gd name="T40" fmla="*/ 84 w 84"/>
                <a:gd name="T41" fmla="*/ 44 h 99"/>
                <a:gd name="T42" fmla="*/ 84 w 84"/>
                <a:gd name="T43" fmla="*/ 99 h 99"/>
                <a:gd name="T44" fmla="*/ 59 w 84"/>
                <a:gd name="T45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4" h="99">
                  <a:moveTo>
                    <a:pt x="59" y="99"/>
                  </a:moveTo>
                  <a:cubicBezTo>
                    <a:pt x="59" y="47"/>
                    <a:pt x="59" y="47"/>
                    <a:pt x="59" y="47"/>
                  </a:cubicBezTo>
                  <a:cubicBezTo>
                    <a:pt x="59" y="39"/>
                    <a:pt x="58" y="33"/>
                    <a:pt x="55" y="30"/>
                  </a:cubicBezTo>
                  <a:cubicBezTo>
                    <a:pt x="53" y="26"/>
                    <a:pt x="48" y="24"/>
                    <a:pt x="42" y="24"/>
                  </a:cubicBezTo>
                  <a:cubicBezTo>
                    <a:pt x="40" y="24"/>
                    <a:pt x="37" y="24"/>
                    <a:pt x="35" y="25"/>
                  </a:cubicBezTo>
                  <a:cubicBezTo>
                    <a:pt x="33" y="26"/>
                    <a:pt x="31" y="27"/>
                    <a:pt x="30" y="29"/>
                  </a:cubicBezTo>
                  <a:cubicBezTo>
                    <a:pt x="29" y="30"/>
                    <a:pt x="28" y="33"/>
                    <a:pt x="27" y="35"/>
                  </a:cubicBezTo>
                  <a:cubicBezTo>
                    <a:pt x="26" y="38"/>
                    <a:pt x="26" y="42"/>
                    <a:pt x="26" y="46"/>
                  </a:cubicBezTo>
                  <a:cubicBezTo>
                    <a:pt x="26" y="99"/>
                    <a:pt x="26" y="99"/>
                    <a:pt x="26" y="99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7" y="7"/>
                    <a:pt x="28" y="6"/>
                    <a:pt x="30" y="5"/>
                  </a:cubicBezTo>
                  <a:cubicBezTo>
                    <a:pt x="31" y="4"/>
                    <a:pt x="33" y="3"/>
                    <a:pt x="35" y="2"/>
                  </a:cubicBezTo>
                  <a:cubicBezTo>
                    <a:pt x="37" y="2"/>
                    <a:pt x="39" y="1"/>
                    <a:pt x="41" y="1"/>
                  </a:cubicBezTo>
                  <a:cubicBezTo>
                    <a:pt x="44" y="0"/>
                    <a:pt x="46" y="0"/>
                    <a:pt x="48" y="0"/>
                  </a:cubicBezTo>
                  <a:cubicBezTo>
                    <a:pt x="55" y="0"/>
                    <a:pt x="60" y="1"/>
                    <a:pt x="64" y="3"/>
                  </a:cubicBezTo>
                  <a:cubicBezTo>
                    <a:pt x="69" y="5"/>
                    <a:pt x="73" y="8"/>
                    <a:pt x="76" y="12"/>
                  </a:cubicBezTo>
                  <a:cubicBezTo>
                    <a:pt x="79" y="16"/>
                    <a:pt x="81" y="20"/>
                    <a:pt x="82" y="26"/>
                  </a:cubicBezTo>
                  <a:cubicBezTo>
                    <a:pt x="84" y="31"/>
                    <a:pt x="84" y="38"/>
                    <a:pt x="84" y="44"/>
                  </a:cubicBezTo>
                  <a:cubicBezTo>
                    <a:pt x="84" y="99"/>
                    <a:pt x="84" y="99"/>
                    <a:pt x="84" y="99"/>
                  </a:cubicBezTo>
                  <a:lnTo>
                    <a:pt x="59" y="9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42" name="Freeform 30">
              <a:extLst>
                <a:ext uri="{FF2B5EF4-FFF2-40B4-BE49-F238E27FC236}">
                  <a16:creationId xmlns:a16="http://schemas.microsoft.com/office/drawing/2014/main" id="{4BC09A9F-8959-48BA-9B94-7840D333316F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10547642" y="1406980"/>
              <a:ext cx="57529" cy="92832"/>
            </a:xfrm>
            <a:custGeom>
              <a:avLst/>
              <a:gdLst>
                <a:gd name="T0" fmla="*/ 58 w 84"/>
                <a:gd name="T1" fmla="*/ 135 h 137"/>
                <a:gd name="T2" fmla="*/ 58 w 84"/>
                <a:gd name="T3" fmla="*/ 129 h 137"/>
                <a:gd name="T4" fmla="*/ 55 w 84"/>
                <a:gd name="T5" fmla="*/ 132 h 137"/>
                <a:gd name="T6" fmla="*/ 50 w 84"/>
                <a:gd name="T7" fmla="*/ 135 h 137"/>
                <a:gd name="T8" fmla="*/ 45 w 84"/>
                <a:gd name="T9" fmla="*/ 137 h 137"/>
                <a:gd name="T10" fmla="*/ 38 w 84"/>
                <a:gd name="T11" fmla="*/ 137 h 137"/>
                <a:gd name="T12" fmla="*/ 23 w 84"/>
                <a:gd name="T13" fmla="*/ 134 h 137"/>
                <a:gd name="T14" fmla="*/ 11 w 84"/>
                <a:gd name="T15" fmla="*/ 125 h 137"/>
                <a:gd name="T16" fmla="*/ 3 w 84"/>
                <a:gd name="T17" fmla="*/ 109 h 137"/>
                <a:gd name="T18" fmla="*/ 0 w 84"/>
                <a:gd name="T19" fmla="*/ 85 h 137"/>
                <a:gd name="T20" fmla="*/ 3 w 84"/>
                <a:gd name="T21" fmla="*/ 65 h 137"/>
                <a:gd name="T22" fmla="*/ 10 w 84"/>
                <a:gd name="T23" fmla="*/ 50 h 137"/>
                <a:gd name="T24" fmla="*/ 22 w 84"/>
                <a:gd name="T25" fmla="*/ 40 h 137"/>
                <a:gd name="T26" fmla="*/ 38 w 84"/>
                <a:gd name="T27" fmla="*/ 36 h 137"/>
                <a:gd name="T28" fmla="*/ 44 w 84"/>
                <a:gd name="T29" fmla="*/ 36 h 137"/>
                <a:gd name="T30" fmla="*/ 50 w 84"/>
                <a:gd name="T31" fmla="*/ 38 h 137"/>
                <a:gd name="T32" fmla="*/ 55 w 84"/>
                <a:gd name="T33" fmla="*/ 41 h 137"/>
                <a:gd name="T34" fmla="*/ 58 w 84"/>
                <a:gd name="T35" fmla="*/ 44 h 137"/>
                <a:gd name="T36" fmla="*/ 58 w 84"/>
                <a:gd name="T37" fmla="*/ 13 h 137"/>
                <a:gd name="T38" fmla="*/ 84 w 84"/>
                <a:gd name="T39" fmla="*/ 0 h 137"/>
                <a:gd name="T40" fmla="*/ 84 w 84"/>
                <a:gd name="T41" fmla="*/ 135 h 137"/>
                <a:gd name="T42" fmla="*/ 58 w 84"/>
                <a:gd name="T43" fmla="*/ 135 h 137"/>
                <a:gd name="T44" fmla="*/ 58 w 84"/>
                <a:gd name="T45" fmla="*/ 68 h 137"/>
                <a:gd name="T46" fmla="*/ 55 w 84"/>
                <a:gd name="T47" fmla="*/ 65 h 137"/>
                <a:gd name="T48" fmla="*/ 52 w 84"/>
                <a:gd name="T49" fmla="*/ 62 h 137"/>
                <a:gd name="T50" fmla="*/ 47 w 84"/>
                <a:gd name="T51" fmla="*/ 61 h 137"/>
                <a:gd name="T52" fmla="*/ 41 w 84"/>
                <a:gd name="T53" fmla="*/ 60 h 137"/>
                <a:gd name="T54" fmla="*/ 30 w 84"/>
                <a:gd name="T55" fmla="*/ 66 h 137"/>
                <a:gd name="T56" fmla="*/ 26 w 84"/>
                <a:gd name="T57" fmla="*/ 85 h 137"/>
                <a:gd name="T58" fmla="*/ 27 w 84"/>
                <a:gd name="T59" fmla="*/ 98 h 137"/>
                <a:gd name="T60" fmla="*/ 31 w 84"/>
                <a:gd name="T61" fmla="*/ 106 h 137"/>
                <a:gd name="T62" fmla="*/ 36 w 84"/>
                <a:gd name="T63" fmla="*/ 111 h 137"/>
                <a:gd name="T64" fmla="*/ 43 w 84"/>
                <a:gd name="T65" fmla="*/ 113 h 137"/>
                <a:gd name="T66" fmla="*/ 48 w 84"/>
                <a:gd name="T67" fmla="*/ 112 h 137"/>
                <a:gd name="T68" fmla="*/ 52 w 84"/>
                <a:gd name="T69" fmla="*/ 111 h 137"/>
                <a:gd name="T70" fmla="*/ 56 w 84"/>
                <a:gd name="T71" fmla="*/ 108 h 137"/>
                <a:gd name="T72" fmla="*/ 58 w 84"/>
                <a:gd name="T73" fmla="*/ 105 h 137"/>
                <a:gd name="T74" fmla="*/ 58 w 84"/>
                <a:gd name="T75" fmla="*/ 68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4" h="137">
                  <a:moveTo>
                    <a:pt x="58" y="135"/>
                  </a:moveTo>
                  <a:cubicBezTo>
                    <a:pt x="58" y="129"/>
                    <a:pt x="58" y="129"/>
                    <a:pt x="58" y="129"/>
                  </a:cubicBezTo>
                  <a:cubicBezTo>
                    <a:pt x="57" y="130"/>
                    <a:pt x="56" y="131"/>
                    <a:pt x="55" y="132"/>
                  </a:cubicBezTo>
                  <a:cubicBezTo>
                    <a:pt x="53" y="133"/>
                    <a:pt x="52" y="134"/>
                    <a:pt x="50" y="135"/>
                  </a:cubicBezTo>
                  <a:cubicBezTo>
                    <a:pt x="48" y="136"/>
                    <a:pt x="47" y="136"/>
                    <a:pt x="45" y="137"/>
                  </a:cubicBezTo>
                  <a:cubicBezTo>
                    <a:pt x="43" y="137"/>
                    <a:pt x="40" y="137"/>
                    <a:pt x="38" y="137"/>
                  </a:cubicBezTo>
                  <a:cubicBezTo>
                    <a:pt x="33" y="137"/>
                    <a:pt x="28" y="136"/>
                    <a:pt x="23" y="134"/>
                  </a:cubicBezTo>
                  <a:cubicBezTo>
                    <a:pt x="19" y="132"/>
                    <a:pt x="15" y="129"/>
                    <a:pt x="11" y="125"/>
                  </a:cubicBezTo>
                  <a:cubicBezTo>
                    <a:pt x="8" y="121"/>
                    <a:pt x="5" y="115"/>
                    <a:pt x="3" y="109"/>
                  </a:cubicBezTo>
                  <a:cubicBezTo>
                    <a:pt x="1" y="102"/>
                    <a:pt x="0" y="94"/>
                    <a:pt x="0" y="85"/>
                  </a:cubicBezTo>
                  <a:cubicBezTo>
                    <a:pt x="0" y="78"/>
                    <a:pt x="1" y="71"/>
                    <a:pt x="3" y="65"/>
                  </a:cubicBezTo>
                  <a:cubicBezTo>
                    <a:pt x="4" y="59"/>
                    <a:pt x="7" y="54"/>
                    <a:pt x="10" y="50"/>
                  </a:cubicBezTo>
                  <a:cubicBezTo>
                    <a:pt x="13" y="45"/>
                    <a:pt x="17" y="42"/>
                    <a:pt x="22" y="40"/>
                  </a:cubicBezTo>
                  <a:cubicBezTo>
                    <a:pt x="27" y="37"/>
                    <a:pt x="32" y="36"/>
                    <a:pt x="38" y="36"/>
                  </a:cubicBezTo>
                  <a:cubicBezTo>
                    <a:pt x="40" y="36"/>
                    <a:pt x="42" y="36"/>
                    <a:pt x="44" y="36"/>
                  </a:cubicBezTo>
                  <a:cubicBezTo>
                    <a:pt x="46" y="37"/>
                    <a:pt x="48" y="37"/>
                    <a:pt x="50" y="38"/>
                  </a:cubicBezTo>
                  <a:cubicBezTo>
                    <a:pt x="52" y="39"/>
                    <a:pt x="53" y="40"/>
                    <a:pt x="55" y="41"/>
                  </a:cubicBezTo>
                  <a:cubicBezTo>
                    <a:pt x="56" y="42"/>
                    <a:pt x="57" y="42"/>
                    <a:pt x="58" y="44"/>
                  </a:cubicBezTo>
                  <a:cubicBezTo>
                    <a:pt x="58" y="13"/>
                    <a:pt x="58" y="13"/>
                    <a:pt x="58" y="13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135"/>
                    <a:pt x="84" y="135"/>
                    <a:pt x="84" y="135"/>
                  </a:cubicBezTo>
                  <a:lnTo>
                    <a:pt x="58" y="135"/>
                  </a:lnTo>
                  <a:close/>
                  <a:moveTo>
                    <a:pt x="58" y="68"/>
                  </a:moveTo>
                  <a:cubicBezTo>
                    <a:pt x="57" y="67"/>
                    <a:pt x="56" y="66"/>
                    <a:pt x="55" y="65"/>
                  </a:cubicBezTo>
                  <a:cubicBezTo>
                    <a:pt x="54" y="64"/>
                    <a:pt x="53" y="63"/>
                    <a:pt x="52" y="62"/>
                  </a:cubicBezTo>
                  <a:cubicBezTo>
                    <a:pt x="50" y="62"/>
                    <a:pt x="49" y="61"/>
                    <a:pt x="47" y="61"/>
                  </a:cubicBezTo>
                  <a:cubicBezTo>
                    <a:pt x="45" y="60"/>
                    <a:pt x="43" y="60"/>
                    <a:pt x="41" y="60"/>
                  </a:cubicBezTo>
                  <a:cubicBezTo>
                    <a:pt x="36" y="60"/>
                    <a:pt x="33" y="62"/>
                    <a:pt x="30" y="66"/>
                  </a:cubicBezTo>
                  <a:cubicBezTo>
                    <a:pt x="27" y="70"/>
                    <a:pt x="26" y="77"/>
                    <a:pt x="26" y="85"/>
                  </a:cubicBezTo>
                  <a:cubicBezTo>
                    <a:pt x="26" y="90"/>
                    <a:pt x="27" y="94"/>
                    <a:pt x="27" y="98"/>
                  </a:cubicBezTo>
                  <a:cubicBezTo>
                    <a:pt x="28" y="101"/>
                    <a:pt x="29" y="104"/>
                    <a:pt x="31" y="106"/>
                  </a:cubicBezTo>
                  <a:cubicBezTo>
                    <a:pt x="32" y="109"/>
                    <a:pt x="34" y="110"/>
                    <a:pt x="36" y="111"/>
                  </a:cubicBezTo>
                  <a:cubicBezTo>
                    <a:pt x="38" y="113"/>
                    <a:pt x="40" y="113"/>
                    <a:pt x="43" y="113"/>
                  </a:cubicBezTo>
                  <a:cubicBezTo>
                    <a:pt x="45" y="113"/>
                    <a:pt x="46" y="113"/>
                    <a:pt x="48" y="112"/>
                  </a:cubicBezTo>
                  <a:cubicBezTo>
                    <a:pt x="50" y="112"/>
                    <a:pt x="51" y="112"/>
                    <a:pt x="52" y="111"/>
                  </a:cubicBezTo>
                  <a:cubicBezTo>
                    <a:pt x="53" y="110"/>
                    <a:pt x="55" y="109"/>
                    <a:pt x="56" y="108"/>
                  </a:cubicBezTo>
                  <a:cubicBezTo>
                    <a:pt x="57" y="107"/>
                    <a:pt x="58" y="106"/>
                    <a:pt x="58" y="105"/>
                  </a:cubicBezTo>
                  <a:lnTo>
                    <a:pt x="58" y="6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43" name="Freeform 31">
              <a:extLst>
                <a:ext uri="{FF2B5EF4-FFF2-40B4-BE49-F238E27FC236}">
                  <a16:creationId xmlns:a16="http://schemas.microsoft.com/office/drawing/2014/main" id="{125CF3D1-4644-4A4C-A605-6CBB28099392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1214461" y="970279"/>
              <a:ext cx="83679" cy="112444"/>
            </a:xfrm>
            <a:custGeom>
              <a:avLst/>
              <a:gdLst>
                <a:gd name="T0" fmla="*/ 123 w 123"/>
                <a:gd name="T1" fmla="*/ 94 h 165"/>
                <a:gd name="T2" fmla="*/ 107 w 123"/>
                <a:gd name="T3" fmla="*/ 147 h 165"/>
                <a:gd name="T4" fmla="*/ 62 w 123"/>
                <a:gd name="T5" fmla="*/ 165 h 165"/>
                <a:gd name="T6" fmla="*/ 39 w 123"/>
                <a:gd name="T7" fmla="*/ 161 h 165"/>
                <a:gd name="T8" fmla="*/ 22 w 123"/>
                <a:gd name="T9" fmla="*/ 151 h 165"/>
                <a:gd name="T10" fmla="*/ 8 w 123"/>
                <a:gd name="T11" fmla="*/ 136 h 165"/>
                <a:gd name="T12" fmla="*/ 0 w 123"/>
                <a:gd name="T13" fmla="*/ 117 h 165"/>
                <a:gd name="T14" fmla="*/ 31 w 123"/>
                <a:gd name="T15" fmla="*/ 108 h 165"/>
                <a:gd name="T16" fmla="*/ 36 w 123"/>
                <a:gd name="T17" fmla="*/ 119 h 165"/>
                <a:gd name="T18" fmla="*/ 43 w 123"/>
                <a:gd name="T19" fmla="*/ 126 h 165"/>
                <a:gd name="T20" fmla="*/ 51 w 123"/>
                <a:gd name="T21" fmla="*/ 131 h 165"/>
                <a:gd name="T22" fmla="*/ 62 w 123"/>
                <a:gd name="T23" fmla="*/ 132 h 165"/>
                <a:gd name="T24" fmla="*/ 75 w 123"/>
                <a:gd name="T25" fmla="*/ 130 h 165"/>
                <a:gd name="T26" fmla="*/ 84 w 123"/>
                <a:gd name="T27" fmla="*/ 123 h 165"/>
                <a:gd name="T28" fmla="*/ 89 w 123"/>
                <a:gd name="T29" fmla="*/ 111 h 165"/>
                <a:gd name="T30" fmla="*/ 91 w 123"/>
                <a:gd name="T31" fmla="*/ 95 h 165"/>
                <a:gd name="T32" fmla="*/ 91 w 123"/>
                <a:gd name="T33" fmla="*/ 0 h 165"/>
                <a:gd name="T34" fmla="*/ 123 w 123"/>
                <a:gd name="T35" fmla="*/ 0 h 165"/>
                <a:gd name="T36" fmla="*/ 123 w 123"/>
                <a:gd name="T37" fmla="*/ 94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3" h="165">
                  <a:moveTo>
                    <a:pt x="123" y="94"/>
                  </a:moveTo>
                  <a:cubicBezTo>
                    <a:pt x="123" y="117"/>
                    <a:pt x="118" y="135"/>
                    <a:pt x="107" y="147"/>
                  </a:cubicBezTo>
                  <a:cubicBezTo>
                    <a:pt x="97" y="159"/>
                    <a:pt x="81" y="165"/>
                    <a:pt x="62" y="165"/>
                  </a:cubicBezTo>
                  <a:cubicBezTo>
                    <a:pt x="54" y="165"/>
                    <a:pt x="46" y="163"/>
                    <a:pt x="39" y="161"/>
                  </a:cubicBezTo>
                  <a:cubicBezTo>
                    <a:pt x="33" y="159"/>
                    <a:pt x="27" y="155"/>
                    <a:pt x="22" y="151"/>
                  </a:cubicBezTo>
                  <a:cubicBezTo>
                    <a:pt x="16" y="147"/>
                    <a:pt x="12" y="142"/>
                    <a:pt x="8" y="136"/>
                  </a:cubicBezTo>
                  <a:cubicBezTo>
                    <a:pt x="4" y="130"/>
                    <a:pt x="2" y="124"/>
                    <a:pt x="0" y="117"/>
                  </a:cubicBezTo>
                  <a:cubicBezTo>
                    <a:pt x="31" y="108"/>
                    <a:pt x="31" y="108"/>
                    <a:pt x="31" y="108"/>
                  </a:cubicBezTo>
                  <a:cubicBezTo>
                    <a:pt x="33" y="113"/>
                    <a:pt x="35" y="116"/>
                    <a:pt x="36" y="119"/>
                  </a:cubicBezTo>
                  <a:cubicBezTo>
                    <a:pt x="38" y="122"/>
                    <a:pt x="40" y="124"/>
                    <a:pt x="43" y="126"/>
                  </a:cubicBezTo>
                  <a:cubicBezTo>
                    <a:pt x="45" y="128"/>
                    <a:pt x="48" y="130"/>
                    <a:pt x="51" y="131"/>
                  </a:cubicBezTo>
                  <a:cubicBezTo>
                    <a:pt x="54" y="132"/>
                    <a:pt x="58" y="132"/>
                    <a:pt x="62" y="132"/>
                  </a:cubicBezTo>
                  <a:cubicBezTo>
                    <a:pt x="67" y="132"/>
                    <a:pt x="71" y="131"/>
                    <a:pt x="75" y="130"/>
                  </a:cubicBezTo>
                  <a:cubicBezTo>
                    <a:pt x="78" y="128"/>
                    <a:pt x="81" y="126"/>
                    <a:pt x="84" y="123"/>
                  </a:cubicBezTo>
                  <a:cubicBezTo>
                    <a:pt x="86" y="119"/>
                    <a:pt x="88" y="115"/>
                    <a:pt x="89" y="111"/>
                  </a:cubicBezTo>
                  <a:cubicBezTo>
                    <a:pt x="90" y="106"/>
                    <a:pt x="91" y="101"/>
                    <a:pt x="91" y="95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123" y="0"/>
                    <a:pt x="123" y="0"/>
                    <a:pt x="123" y="0"/>
                  </a:cubicBezTo>
                  <a:lnTo>
                    <a:pt x="123" y="9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44" name="Freeform 32">
              <a:extLst>
                <a:ext uri="{FF2B5EF4-FFF2-40B4-BE49-F238E27FC236}">
                  <a16:creationId xmlns:a16="http://schemas.microsoft.com/office/drawing/2014/main" id="{5C66EC1B-AD1B-491B-A19A-A2C96C78BC6A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11312522" y="970279"/>
              <a:ext cx="105907" cy="111137"/>
            </a:xfrm>
            <a:custGeom>
              <a:avLst/>
              <a:gdLst>
                <a:gd name="T0" fmla="*/ 81 w 81"/>
                <a:gd name="T1" fmla="*/ 85 h 85"/>
                <a:gd name="T2" fmla="*/ 63 w 81"/>
                <a:gd name="T3" fmla="*/ 85 h 85"/>
                <a:gd name="T4" fmla="*/ 56 w 81"/>
                <a:gd name="T5" fmla="*/ 66 h 85"/>
                <a:gd name="T6" fmla="*/ 24 w 81"/>
                <a:gd name="T7" fmla="*/ 66 h 85"/>
                <a:gd name="T8" fmla="*/ 18 w 81"/>
                <a:gd name="T9" fmla="*/ 85 h 85"/>
                <a:gd name="T10" fmla="*/ 0 w 81"/>
                <a:gd name="T11" fmla="*/ 85 h 85"/>
                <a:gd name="T12" fmla="*/ 32 w 81"/>
                <a:gd name="T13" fmla="*/ 0 h 85"/>
                <a:gd name="T14" fmla="*/ 49 w 81"/>
                <a:gd name="T15" fmla="*/ 0 h 85"/>
                <a:gd name="T16" fmla="*/ 81 w 81"/>
                <a:gd name="T17" fmla="*/ 85 h 85"/>
                <a:gd name="T18" fmla="*/ 50 w 81"/>
                <a:gd name="T19" fmla="*/ 50 h 85"/>
                <a:gd name="T20" fmla="*/ 40 w 81"/>
                <a:gd name="T21" fmla="*/ 22 h 85"/>
                <a:gd name="T22" fmla="*/ 31 w 81"/>
                <a:gd name="T23" fmla="*/ 50 h 85"/>
                <a:gd name="T24" fmla="*/ 50 w 81"/>
                <a:gd name="T25" fmla="*/ 5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1" h="85">
                  <a:moveTo>
                    <a:pt x="81" y="85"/>
                  </a:moveTo>
                  <a:lnTo>
                    <a:pt x="63" y="85"/>
                  </a:lnTo>
                  <a:lnTo>
                    <a:pt x="56" y="66"/>
                  </a:lnTo>
                  <a:lnTo>
                    <a:pt x="24" y="66"/>
                  </a:lnTo>
                  <a:lnTo>
                    <a:pt x="18" y="85"/>
                  </a:lnTo>
                  <a:lnTo>
                    <a:pt x="0" y="85"/>
                  </a:lnTo>
                  <a:lnTo>
                    <a:pt x="32" y="0"/>
                  </a:lnTo>
                  <a:lnTo>
                    <a:pt x="49" y="0"/>
                  </a:lnTo>
                  <a:lnTo>
                    <a:pt x="81" y="85"/>
                  </a:lnTo>
                  <a:close/>
                  <a:moveTo>
                    <a:pt x="50" y="50"/>
                  </a:moveTo>
                  <a:lnTo>
                    <a:pt x="40" y="22"/>
                  </a:lnTo>
                  <a:lnTo>
                    <a:pt x="31" y="50"/>
                  </a:lnTo>
                  <a:lnTo>
                    <a:pt x="50" y="5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45" name="Freeform 33">
              <a:extLst>
                <a:ext uri="{FF2B5EF4-FFF2-40B4-BE49-F238E27FC236}">
                  <a16:creationId xmlns:a16="http://schemas.microsoft.com/office/drawing/2014/main" id="{DE0C7275-54C1-4C0E-A900-3BA9CF18FC7F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1439349" y="970279"/>
              <a:ext cx="88909" cy="111137"/>
            </a:xfrm>
            <a:custGeom>
              <a:avLst/>
              <a:gdLst>
                <a:gd name="T0" fmla="*/ 51 w 68"/>
                <a:gd name="T1" fmla="*/ 85 h 85"/>
                <a:gd name="T2" fmla="*/ 51 w 68"/>
                <a:gd name="T3" fmla="*/ 49 h 85"/>
                <a:gd name="T4" fmla="*/ 17 w 68"/>
                <a:gd name="T5" fmla="*/ 49 h 85"/>
                <a:gd name="T6" fmla="*/ 17 w 68"/>
                <a:gd name="T7" fmla="*/ 85 h 85"/>
                <a:gd name="T8" fmla="*/ 0 w 68"/>
                <a:gd name="T9" fmla="*/ 85 h 85"/>
                <a:gd name="T10" fmla="*/ 0 w 68"/>
                <a:gd name="T11" fmla="*/ 0 h 85"/>
                <a:gd name="T12" fmla="*/ 17 w 68"/>
                <a:gd name="T13" fmla="*/ 0 h 85"/>
                <a:gd name="T14" fmla="*/ 17 w 68"/>
                <a:gd name="T15" fmla="*/ 33 h 85"/>
                <a:gd name="T16" fmla="*/ 51 w 68"/>
                <a:gd name="T17" fmla="*/ 33 h 85"/>
                <a:gd name="T18" fmla="*/ 51 w 68"/>
                <a:gd name="T19" fmla="*/ 0 h 85"/>
                <a:gd name="T20" fmla="*/ 68 w 68"/>
                <a:gd name="T21" fmla="*/ 0 h 85"/>
                <a:gd name="T22" fmla="*/ 68 w 68"/>
                <a:gd name="T23" fmla="*/ 85 h 85"/>
                <a:gd name="T24" fmla="*/ 51 w 68"/>
                <a:gd name="T25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8" h="85">
                  <a:moveTo>
                    <a:pt x="51" y="85"/>
                  </a:moveTo>
                  <a:lnTo>
                    <a:pt x="51" y="49"/>
                  </a:lnTo>
                  <a:lnTo>
                    <a:pt x="17" y="49"/>
                  </a:lnTo>
                  <a:lnTo>
                    <a:pt x="17" y="85"/>
                  </a:lnTo>
                  <a:lnTo>
                    <a:pt x="0" y="85"/>
                  </a:lnTo>
                  <a:lnTo>
                    <a:pt x="0" y="0"/>
                  </a:lnTo>
                  <a:lnTo>
                    <a:pt x="17" y="0"/>
                  </a:lnTo>
                  <a:lnTo>
                    <a:pt x="17" y="33"/>
                  </a:lnTo>
                  <a:lnTo>
                    <a:pt x="51" y="33"/>
                  </a:lnTo>
                  <a:lnTo>
                    <a:pt x="51" y="0"/>
                  </a:lnTo>
                  <a:lnTo>
                    <a:pt x="68" y="0"/>
                  </a:lnTo>
                  <a:lnTo>
                    <a:pt x="68" y="85"/>
                  </a:lnTo>
                  <a:lnTo>
                    <a:pt x="51" y="8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46" name="Freeform 34">
              <a:extLst>
                <a:ext uri="{FF2B5EF4-FFF2-40B4-BE49-F238E27FC236}">
                  <a16:creationId xmlns:a16="http://schemas.microsoft.com/office/drawing/2014/main" id="{0A332B72-1C98-486F-B1D7-FD53CDB0B0EC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11557023" y="970279"/>
              <a:ext cx="90217" cy="111137"/>
            </a:xfrm>
            <a:custGeom>
              <a:avLst/>
              <a:gdLst>
                <a:gd name="T0" fmla="*/ 94 w 131"/>
                <a:gd name="T1" fmla="*/ 162 h 162"/>
                <a:gd name="T2" fmla="*/ 65 w 131"/>
                <a:gd name="T3" fmla="*/ 104 h 162"/>
                <a:gd name="T4" fmla="*/ 32 w 131"/>
                <a:gd name="T5" fmla="*/ 104 h 162"/>
                <a:gd name="T6" fmla="*/ 32 w 131"/>
                <a:gd name="T7" fmla="*/ 162 h 162"/>
                <a:gd name="T8" fmla="*/ 0 w 131"/>
                <a:gd name="T9" fmla="*/ 162 h 162"/>
                <a:gd name="T10" fmla="*/ 0 w 131"/>
                <a:gd name="T11" fmla="*/ 0 h 162"/>
                <a:gd name="T12" fmla="*/ 75 w 131"/>
                <a:gd name="T13" fmla="*/ 0 h 162"/>
                <a:gd name="T14" fmla="*/ 97 w 131"/>
                <a:gd name="T15" fmla="*/ 3 h 162"/>
                <a:gd name="T16" fmla="*/ 115 w 131"/>
                <a:gd name="T17" fmla="*/ 12 h 162"/>
                <a:gd name="T18" fmla="*/ 127 w 131"/>
                <a:gd name="T19" fmla="*/ 29 h 162"/>
                <a:gd name="T20" fmla="*/ 131 w 131"/>
                <a:gd name="T21" fmla="*/ 51 h 162"/>
                <a:gd name="T22" fmla="*/ 129 w 131"/>
                <a:gd name="T23" fmla="*/ 68 h 162"/>
                <a:gd name="T24" fmla="*/ 123 w 131"/>
                <a:gd name="T25" fmla="*/ 81 h 162"/>
                <a:gd name="T26" fmla="*/ 113 w 131"/>
                <a:gd name="T27" fmla="*/ 92 h 162"/>
                <a:gd name="T28" fmla="*/ 100 w 131"/>
                <a:gd name="T29" fmla="*/ 99 h 162"/>
                <a:gd name="T30" fmla="*/ 131 w 131"/>
                <a:gd name="T31" fmla="*/ 162 h 162"/>
                <a:gd name="T32" fmla="*/ 94 w 131"/>
                <a:gd name="T33" fmla="*/ 162 h 162"/>
                <a:gd name="T34" fmla="*/ 98 w 131"/>
                <a:gd name="T35" fmla="*/ 52 h 162"/>
                <a:gd name="T36" fmla="*/ 96 w 131"/>
                <a:gd name="T37" fmla="*/ 42 h 162"/>
                <a:gd name="T38" fmla="*/ 91 w 131"/>
                <a:gd name="T39" fmla="*/ 36 h 162"/>
                <a:gd name="T40" fmla="*/ 84 w 131"/>
                <a:gd name="T41" fmla="*/ 32 h 162"/>
                <a:gd name="T42" fmla="*/ 75 w 131"/>
                <a:gd name="T43" fmla="*/ 31 h 162"/>
                <a:gd name="T44" fmla="*/ 32 w 131"/>
                <a:gd name="T45" fmla="*/ 31 h 162"/>
                <a:gd name="T46" fmla="*/ 32 w 131"/>
                <a:gd name="T47" fmla="*/ 73 h 162"/>
                <a:gd name="T48" fmla="*/ 75 w 131"/>
                <a:gd name="T49" fmla="*/ 73 h 162"/>
                <a:gd name="T50" fmla="*/ 85 w 131"/>
                <a:gd name="T51" fmla="*/ 72 h 162"/>
                <a:gd name="T52" fmla="*/ 92 w 131"/>
                <a:gd name="T53" fmla="*/ 67 h 162"/>
                <a:gd name="T54" fmla="*/ 96 w 131"/>
                <a:gd name="T55" fmla="*/ 61 h 162"/>
                <a:gd name="T56" fmla="*/ 98 w 131"/>
                <a:gd name="T57" fmla="*/ 5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31" h="162">
                  <a:moveTo>
                    <a:pt x="94" y="162"/>
                  </a:moveTo>
                  <a:cubicBezTo>
                    <a:pt x="65" y="104"/>
                    <a:pt x="65" y="104"/>
                    <a:pt x="65" y="104"/>
                  </a:cubicBezTo>
                  <a:cubicBezTo>
                    <a:pt x="32" y="104"/>
                    <a:pt x="32" y="104"/>
                    <a:pt x="32" y="104"/>
                  </a:cubicBezTo>
                  <a:cubicBezTo>
                    <a:pt x="32" y="162"/>
                    <a:pt x="32" y="162"/>
                    <a:pt x="32" y="162"/>
                  </a:cubicBezTo>
                  <a:cubicBezTo>
                    <a:pt x="0" y="162"/>
                    <a:pt x="0" y="162"/>
                    <a:pt x="0" y="16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83" y="0"/>
                    <a:pt x="90" y="1"/>
                    <a:pt x="97" y="3"/>
                  </a:cubicBezTo>
                  <a:cubicBezTo>
                    <a:pt x="104" y="5"/>
                    <a:pt x="110" y="8"/>
                    <a:pt x="115" y="12"/>
                  </a:cubicBezTo>
                  <a:cubicBezTo>
                    <a:pt x="120" y="17"/>
                    <a:pt x="124" y="22"/>
                    <a:pt x="127" y="29"/>
                  </a:cubicBezTo>
                  <a:cubicBezTo>
                    <a:pt x="130" y="35"/>
                    <a:pt x="131" y="42"/>
                    <a:pt x="131" y="51"/>
                  </a:cubicBezTo>
                  <a:cubicBezTo>
                    <a:pt x="131" y="58"/>
                    <a:pt x="130" y="63"/>
                    <a:pt x="129" y="68"/>
                  </a:cubicBezTo>
                  <a:cubicBezTo>
                    <a:pt x="128" y="73"/>
                    <a:pt x="126" y="78"/>
                    <a:pt x="123" y="81"/>
                  </a:cubicBezTo>
                  <a:cubicBezTo>
                    <a:pt x="120" y="85"/>
                    <a:pt x="117" y="89"/>
                    <a:pt x="113" y="92"/>
                  </a:cubicBezTo>
                  <a:cubicBezTo>
                    <a:pt x="110" y="94"/>
                    <a:pt x="105" y="97"/>
                    <a:pt x="100" y="99"/>
                  </a:cubicBezTo>
                  <a:cubicBezTo>
                    <a:pt x="131" y="162"/>
                    <a:pt x="131" y="162"/>
                    <a:pt x="131" y="162"/>
                  </a:cubicBezTo>
                  <a:lnTo>
                    <a:pt x="94" y="162"/>
                  </a:lnTo>
                  <a:close/>
                  <a:moveTo>
                    <a:pt x="98" y="52"/>
                  </a:moveTo>
                  <a:cubicBezTo>
                    <a:pt x="98" y="48"/>
                    <a:pt x="97" y="45"/>
                    <a:pt x="96" y="42"/>
                  </a:cubicBezTo>
                  <a:cubicBezTo>
                    <a:pt x="95" y="39"/>
                    <a:pt x="93" y="37"/>
                    <a:pt x="91" y="36"/>
                  </a:cubicBezTo>
                  <a:cubicBezTo>
                    <a:pt x="89" y="34"/>
                    <a:pt x="86" y="33"/>
                    <a:pt x="84" y="32"/>
                  </a:cubicBezTo>
                  <a:cubicBezTo>
                    <a:pt x="81" y="32"/>
                    <a:pt x="78" y="31"/>
                    <a:pt x="75" y="31"/>
                  </a:cubicBezTo>
                  <a:cubicBezTo>
                    <a:pt x="32" y="31"/>
                    <a:pt x="32" y="31"/>
                    <a:pt x="32" y="31"/>
                  </a:cubicBezTo>
                  <a:cubicBezTo>
                    <a:pt x="32" y="73"/>
                    <a:pt x="32" y="73"/>
                    <a:pt x="32" y="73"/>
                  </a:cubicBezTo>
                  <a:cubicBezTo>
                    <a:pt x="75" y="73"/>
                    <a:pt x="75" y="73"/>
                    <a:pt x="75" y="73"/>
                  </a:cubicBezTo>
                  <a:cubicBezTo>
                    <a:pt x="79" y="73"/>
                    <a:pt x="82" y="72"/>
                    <a:pt x="85" y="72"/>
                  </a:cubicBezTo>
                  <a:cubicBezTo>
                    <a:pt x="88" y="71"/>
                    <a:pt x="90" y="69"/>
                    <a:pt x="92" y="67"/>
                  </a:cubicBezTo>
                  <a:cubicBezTo>
                    <a:pt x="94" y="66"/>
                    <a:pt x="95" y="64"/>
                    <a:pt x="96" y="61"/>
                  </a:cubicBezTo>
                  <a:cubicBezTo>
                    <a:pt x="97" y="58"/>
                    <a:pt x="98" y="55"/>
                    <a:pt x="98" y="5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47" name="Freeform 35">
              <a:extLst>
                <a:ext uri="{FF2B5EF4-FFF2-40B4-BE49-F238E27FC236}">
                  <a16:creationId xmlns:a16="http://schemas.microsoft.com/office/drawing/2014/main" id="{B3BCF9E1-0026-4389-B268-FEF82FAE2561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1669468" y="970279"/>
              <a:ext cx="79757" cy="111137"/>
            </a:xfrm>
            <a:custGeom>
              <a:avLst/>
              <a:gdLst>
                <a:gd name="T0" fmla="*/ 61 w 61"/>
                <a:gd name="T1" fmla="*/ 85 h 85"/>
                <a:gd name="T2" fmla="*/ 0 w 61"/>
                <a:gd name="T3" fmla="*/ 85 h 85"/>
                <a:gd name="T4" fmla="*/ 0 w 61"/>
                <a:gd name="T5" fmla="*/ 0 h 85"/>
                <a:gd name="T6" fmla="*/ 59 w 61"/>
                <a:gd name="T7" fmla="*/ 0 h 85"/>
                <a:gd name="T8" fmla="*/ 59 w 61"/>
                <a:gd name="T9" fmla="*/ 16 h 85"/>
                <a:gd name="T10" fmla="*/ 18 w 61"/>
                <a:gd name="T11" fmla="*/ 16 h 85"/>
                <a:gd name="T12" fmla="*/ 18 w 61"/>
                <a:gd name="T13" fmla="*/ 31 h 85"/>
                <a:gd name="T14" fmla="*/ 52 w 61"/>
                <a:gd name="T15" fmla="*/ 31 h 85"/>
                <a:gd name="T16" fmla="*/ 52 w 61"/>
                <a:gd name="T17" fmla="*/ 48 h 85"/>
                <a:gd name="T18" fmla="*/ 18 w 61"/>
                <a:gd name="T19" fmla="*/ 48 h 85"/>
                <a:gd name="T20" fmla="*/ 18 w 61"/>
                <a:gd name="T21" fmla="*/ 68 h 85"/>
                <a:gd name="T22" fmla="*/ 61 w 61"/>
                <a:gd name="T23" fmla="*/ 68 h 85"/>
                <a:gd name="T24" fmla="*/ 61 w 61"/>
                <a:gd name="T25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1" h="85">
                  <a:moveTo>
                    <a:pt x="61" y="85"/>
                  </a:moveTo>
                  <a:lnTo>
                    <a:pt x="0" y="85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6"/>
                  </a:lnTo>
                  <a:lnTo>
                    <a:pt x="18" y="16"/>
                  </a:lnTo>
                  <a:lnTo>
                    <a:pt x="18" y="31"/>
                  </a:lnTo>
                  <a:lnTo>
                    <a:pt x="52" y="31"/>
                  </a:lnTo>
                  <a:lnTo>
                    <a:pt x="52" y="48"/>
                  </a:lnTo>
                  <a:lnTo>
                    <a:pt x="18" y="48"/>
                  </a:lnTo>
                  <a:lnTo>
                    <a:pt x="18" y="68"/>
                  </a:lnTo>
                  <a:lnTo>
                    <a:pt x="61" y="68"/>
                  </a:lnTo>
                  <a:lnTo>
                    <a:pt x="61" y="8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48" name="Freeform 36">
              <a:extLst>
                <a:ext uri="{FF2B5EF4-FFF2-40B4-BE49-F238E27FC236}">
                  <a16:creationId xmlns:a16="http://schemas.microsoft.com/office/drawing/2014/main" id="{649F954E-57A5-4CCA-9CAB-F232FEBD5F36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9731769" y="1013426"/>
              <a:ext cx="261498" cy="366097"/>
            </a:xfrm>
            <a:custGeom>
              <a:avLst/>
              <a:gdLst>
                <a:gd name="T0" fmla="*/ 200 w 200"/>
                <a:gd name="T1" fmla="*/ 280 h 280"/>
                <a:gd name="T2" fmla="*/ 0 w 200"/>
                <a:gd name="T3" fmla="*/ 280 h 280"/>
                <a:gd name="T4" fmla="*/ 0 w 200"/>
                <a:gd name="T5" fmla="*/ 0 h 280"/>
                <a:gd name="T6" fmla="*/ 181 w 200"/>
                <a:gd name="T7" fmla="*/ 0 h 280"/>
                <a:gd name="T8" fmla="*/ 181 w 200"/>
                <a:gd name="T9" fmla="*/ 55 h 280"/>
                <a:gd name="T10" fmla="*/ 55 w 200"/>
                <a:gd name="T11" fmla="*/ 55 h 280"/>
                <a:gd name="T12" fmla="*/ 55 w 200"/>
                <a:gd name="T13" fmla="*/ 103 h 280"/>
                <a:gd name="T14" fmla="*/ 168 w 200"/>
                <a:gd name="T15" fmla="*/ 103 h 280"/>
                <a:gd name="T16" fmla="*/ 168 w 200"/>
                <a:gd name="T17" fmla="*/ 157 h 280"/>
                <a:gd name="T18" fmla="*/ 55 w 200"/>
                <a:gd name="T19" fmla="*/ 157 h 280"/>
                <a:gd name="T20" fmla="*/ 55 w 200"/>
                <a:gd name="T21" fmla="*/ 225 h 280"/>
                <a:gd name="T22" fmla="*/ 200 w 200"/>
                <a:gd name="T23" fmla="*/ 225 h 280"/>
                <a:gd name="T24" fmla="*/ 200 w 200"/>
                <a:gd name="T25" fmla="*/ 280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0" h="280">
                  <a:moveTo>
                    <a:pt x="200" y="280"/>
                  </a:moveTo>
                  <a:lnTo>
                    <a:pt x="0" y="280"/>
                  </a:lnTo>
                  <a:lnTo>
                    <a:pt x="0" y="0"/>
                  </a:lnTo>
                  <a:lnTo>
                    <a:pt x="181" y="0"/>
                  </a:lnTo>
                  <a:lnTo>
                    <a:pt x="181" y="55"/>
                  </a:lnTo>
                  <a:lnTo>
                    <a:pt x="55" y="55"/>
                  </a:lnTo>
                  <a:lnTo>
                    <a:pt x="55" y="103"/>
                  </a:lnTo>
                  <a:lnTo>
                    <a:pt x="168" y="103"/>
                  </a:lnTo>
                  <a:lnTo>
                    <a:pt x="168" y="157"/>
                  </a:lnTo>
                  <a:lnTo>
                    <a:pt x="55" y="157"/>
                  </a:lnTo>
                  <a:lnTo>
                    <a:pt x="55" y="225"/>
                  </a:lnTo>
                  <a:lnTo>
                    <a:pt x="200" y="225"/>
                  </a:lnTo>
                  <a:lnTo>
                    <a:pt x="200" y="28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49" name="Freeform 37">
              <a:extLst>
                <a:ext uri="{FF2B5EF4-FFF2-40B4-BE49-F238E27FC236}">
                  <a16:creationId xmlns:a16="http://schemas.microsoft.com/office/drawing/2014/main" id="{6DE56CC7-4BD4-440A-97FD-A8FAEC415494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9981497" y="1013426"/>
              <a:ext cx="334717" cy="366097"/>
            </a:xfrm>
            <a:custGeom>
              <a:avLst/>
              <a:gdLst>
                <a:gd name="T0" fmla="*/ 256 w 256"/>
                <a:gd name="T1" fmla="*/ 0 h 280"/>
                <a:gd name="T2" fmla="*/ 156 w 256"/>
                <a:gd name="T3" fmla="*/ 157 h 280"/>
                <a:gd name="T4" fmla="*/ 156 w 256"/>
                <a:gd name="T5" fmla="*/ 280 h 280"/>
                <a:gd name="T6" fmla="*/ 100 w 256"/>
                <a:gd name="T7" fmla="*/ 280 h 280"/>
                <a:gd name="T8" fmla="*/ 100 w 256"/>
                <a:gd name="T9" fmla="*/ 159 h 280"/>
                <a:gd name="T10" fmla="*/ 0 w 256"/>
                <a:gd name="T11" fmla="*/ 0 h 280"/>
                <a:gd name="T12" fmla="*/ 64 w 256"/>
                <a:gd name="T13" fmla="*/ 0 h 280"/>
                <a:gd name="T14" fmla="*/ 128 w 256"/>
                <a:gd name="T15" fmla="*/ 106 h 280"/>
                <a:gd name="T16" fmla="*/ 192 w 256"/>
                <a:gd name="T17" fmla="*/ 0 h 280"/>
                <a:gd name="T18" fmla="*/ 256 w 256"/>
                <a:gd name="T19" fmla="*/ 0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6" h="280">
                  <a:moveTo>
                    <a:pt x="256" y="0"/>
                  </a:moveTo>
                  <a:lnTo>
                    <a:pt x="156" y="157"/>
                  </a:lnTo>
                  <a:lnTo>
                    <a:pt x="156" y="280"/>
                  </a:lnTo>
                  <a:lnTo>
                    <a:pt x="100" y="280"/>
                  </a:lnTo>
                  <a:lnTo>
                    <a:pt x="100" y="159"/>
                  </a:lnTo>
                  <a:lnTo>
                    <a:pt x="0" y="0"/>
                  </a:lnTo>
                  <a:lnTo>
                    <a:pt x="64" y="0"/>
                  </a:lnTo>
                  <a:lnTo>
                    <a:pt x="128" y="106"/>
                  </a:lnTo>
                  <a:lnTo>
                    <a:pt x="192" y="0"/>
                  </a:lnTo>
                  <a:lnTo>
                    <a:pt x="256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50" name="Freeform 38">
              <a:extLst>
                <a:ext uri="{FF2B5EF4-FFF2-40B4-BE49-F238E27FC236}">
                  <a16:creationId xmlns:a16="http://schemas.microsoft.com/office/drawing/2014/main" id="{658A3BBD-2F70-448C-911B-74A58B3D4525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10199846" y="638177"/>
              <a:ext cx="1435622" cy="1039454"/>
            </a:xfrm>
            <a:custGeom>
              <a:avLst/>
              <a:gdLst>
                <a:gd name="T0" fmla="*/ 0 w 2104"/>
                <a:gd name="T1" fmla="*/ 293 h 1521"/>
                <a:gd name="T2" fmla="*/ 243 w 2104"/>
                <a:gd name="T3" fmla="*/ 139 h 1521"/>
                <a:gd name="T4" fmla="*/ 243 w 2104"/>
                <a:gd name="T5" fmla="*/ 191 h 1521"/>
                <a:gd name="T6" fmla="*/ 176 w 2104"/>
                <a:gd name="T7" fmla="*/ 1056 h 1521"/>
                <a:gd name="T8" fmla="*/ 279 w 2104"/>
                <a:gd name="T9" fmla="*/ 25 h 1521"/>
                <a:gd name="T10" fmla="*/ 1557 w 2104"/>
                <a:gd name="T11" fmla="*/ 1144 h 1521"/>
                <a:gd name="T12" fmla="*/ 1557 w 2104"/>
                <a:gd name="T13" fmla="*/ 1108 h 1521"/>
                <a:gd name="T14" fmla="*/ 1557 w 2104"/>
                <a:gd name="T15" fmla="*/ 1072 h 1521"/>
                <a:gd name="T16" fmla="*/ 1557 w 2104"/>
                <a:gd name="T17" fmla="*/ 1035 h 1521"/>
                <a:gd name="T18" fmla="*/ 1557 w 2104"/>
                <a:gd name="T19" fmla="*/ 1000 h 1521"/>
                <a:gd name="T20" fmla="*/ 1186 w 2104"/>
                <a:gd name="T21" fmla="*/ 465 h 1521"/>
                <a:gd name="T22" fmla="*/ 1915 w 2104"/>
                <a:gd name="T23" fmla="*/ 372 h 1521"/>
                <a:gd name="T24" fmla="*/ 1099 w 2104"/>
                <a:gd name="T25" fmla="*/ 499 h 1521"/>
                <a:gd name="T26" fmla="*/ 1977 w 2104"/>
                <a:gd name="T27" fmla="*/ 426 h 1521"/>
                <a:gd name="T28" fmla="*/ 1089 w 2104"/>
                <a:gd name="T29" fmla="*/ 421 h 1521"/>
                <a:gd name="T30" fmla="*/ 1565 w 2104"/>
                <a:gd name="T31" fmla="*/ 60 h 1521"/>
                <a:gd name="T32" fmla="*/ 1565 w 2104"/>
                <a:gd name="T33" fmla="*/ 24 h 1521"/>
                <a:gd name="T34" fmla="*/ 556 w 2104"/>
                <a:gd name="T35" fmla="*/ 485 h 1521"/>
                <a:gd name="T36" fmla="*/ 468 w 2104"/>
                <a:gd name="T37" fmla="*/ 41 h 1521"/>
                <a:gd name="T38" fmla="*/ 388 w 2104"/>
                <a:gd name="T39" fmla="*/ 106 h 1521"/>
                <a:gd name="T40" fmla="*/ 351 w 2104"/>
                <a:gd name="T41" fmla="*/ 760 h 1521"/>
                <a:gd name="T42" fmla="*/ 316 w 2104"/>
                <a:gd name="T43" fmla="*/ 70 h 1521"/>
                <a:gd name="T44" fmla="*/ 434 w 2104"/>
                <a:gd name="T45" fmla="*/ 1086 h 1521"/>
                <a:gd name="T46" fmla="*/ 885 w 2104"/>
                <a:gd name="T47" fmla="*/ 487 h 1521"/>
                <a:gd name="T48" fmla="*/ 885 w 2104"/>
                <a:gd name="T49" fmla="*/ 523 h 1521"/>
                <a:gd name="T50" fmla="*/ 568 w 2104"/>
                <a:gd name="T51" fmla="*/ 1056 h 1521"/>
                <a:gd name="T52" fmla="*/ 885 w 2104"/>
                <a:gd name="T53" fmla="*/ 559 h 1521"/>
                <a:gd name="T54" fmla="*/ 1089 w 2104"/>
                <a:gd name="T55" fmla="*/ 534 h 1521"/>
                <a:gd name="T56" fmla="*/ 1299 w 2104"/>
                <a:gd name="T57" fmla="*/ 996 h 1521"/>
                <a:gd name="T58" fmla="*/ 672 w 2104"/>
                <a:gd name="T59" fmla="*/ 1250 h 1521"/>
                <a:gd name="T60" fmla="*/ 894 w 2104"/>
                <a:gd name="T61" fmla="*/ 1377 h 1521"/>
                <a:gd name="T62" fmla="*/ 895 w 2104"/>
                <a:gd name="T63" fmla="*/ 1413 h 1521"/>
                <a:gd name="T64" fmla="*/ 619 w 2104"/>
                <a:gd name="T65" fmla="*/ 1361 h 1521"/>
                <a:gd name="T66" fmla="*/ 1382 w 2104"/>
                <a:gd name="T67" fmla="*/ 1152 h 1521"/>
                <a:gd name="T68" fmla="*/ 509 w 2104"/>
                <a:gd name="T69" fmla="*/ 1325 h 1521"/>
                <a:gd name="T70" fmla="*/ 1416 w 2104"/>
                <a:gd name="T71" fmla="*/ 1162 h 1521"/>
                <a:gd name="T72" fmla="*/ 2062 w 2104"/>
                <a:gd name="T73" fmla="*/ 711 h 1521"/>
                <a:gd name="T74" fmla="*/ 386 w 2104"/>
                <a:gd name="T75" fmla="*/ 950 h 1521"/>
                <a:gd name="T76" fmla="*/ 351 w 2104"/>
                <a:gd name="T77" fmla="*/ 968 h 1521"/>
                <a:gd name="T78" fmla="*/ 885 w 2104"/>
                <a:gd name="T79" fmla="*/ 415 h 1521"/>
                <a:gd name="T80" fmla="*/ 1162 w 2104"/>
                <a:gd name="T81" fmla="*/ 535 h 1521"/>
                <a:gd name="T82" fmla="*/ 1420 w 2104"/>
                <a:gd name="T83" fmla="*/ 978 h 1521"/>
                <a:gd name="T84" fmla="*/ 1162 w 2104"/>
                <a:gd name="T85" fmla="*/ 535 h 1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104" h="1521">
                  <a:moveTo>
                    <a:pt x="268" y="12"/>
                  </a:moveTo>
                  <a:cubicBezTo>
                    <a:pt x="259" y="12"/>
                    <a:pt x="252" y="20"/>
                    <a:pt x="246" y="26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4" y="303"/>
                    <a:pt x="25" y="320"/>
                    <a:pt x="51" y="291"/>
                  </a:cubicBezTo>
                  <a:cubicBezTo>
                    <a:pt x="66" y="276"/>
                    <a:pt x="243" y="80"/>
                    <a:pt x="243" y="80"/>
                  </a:cubicBezTo>
                  <a:cubicBezTo>
                    <a:pt x="243" y="139"/>
                    <a:pt x="243" y="139"/>
                    <a:pt x="243" y="139"/>
                  </a:cubicBezTo>
                  <a:cubicBezTo>
                    <a:pt x="227" y="157"/>
                    <a:pt x="76" y="322"/>
                    <a:pt x="60" y="338"/>
                  </a:cubicBezTo>
                  <a:cubicBezTo>
                    <a:pt x="38" y="360"/>
                    <a:pt x="46" y="383"/>
                    <a:pt x="59" y="392"/>
                  </a:cubicBezTo>
                  <a:cubicBezTo>
                    <a:pt x="243" y="191"/>
                    <a:pt x="243" y="191"/>
                    <a:pt x="243" y="191"/>
                  </a:cubicBezTo>
                  <a:cubicBezTo>
                    <a:pt x="243" y="983"/>
                    <a:pt x="243" y="983"/>
                    <a:pt x="243" y="983"/>
                  </a:cubicBezTo>
                  <a:cubicBezTo>
                    <a:pt x="243" y="1029"/>
                    <a:pt x="228" y="1059"/>
                    <a:pt x="200" y="1059"/>
                  </a:cubicBezTo>
                  <a:cubicBezTo>
                    <a:pt x="187" y="1059"/>
                    <a:pt x="181" y="1057"/>
                    <a:pt x="176" y="1056"/>
                  </a:cubicBezTo>
                  <a:cubicBezTo>
                    <a:pt x="170" y="1070"/>
                    <a:pt x="180" y="1090"/>
                    <a:pt x="208" y="1090"/>
                  </a:cubicBezTo>
                  <a:cubicBezTo>
                    <a:pt x="268" y="1090"/>
                    <a:pt x="279" y="1027"/>
                    <a:pt x="279" y="983"/>
                  </a:cubicBezTo>
                  <a:cubicBezTo>
                    <a:pt x="279" y="25"/>
                    <a:pt x="279" y="25"/>
                    <a:pt x="279" y="25"/>
                  </a:cubicBezTo>
                  <a:cubicBezTo>
                    <a:pt x="279" y="18"/>
                    <a:pt x="275" y="12"/>
                    <a:pt x="268" y="12"/>
                  </a:cubicBezTo>
                  <a:close/>
                  <a:moveTo>
                    <a:pt x="2062" y="711"/>
                  </a:moveTo>
                  <a:cubicBezTo>
                    <a:pt x="2072" y="820"/>
                    <a:pt x="1941" y="1144"/>
                    <a:pt x="1557" y="1144"/>
                  </a:cubicBezTo>
                  <a:cubicBezTo>
                    <a:pt x="1472" y="1144"/>
                    <a:pt x="1403" y="1124"/>
                    <a:pt x="1361" y="1105"/>
                  </a:cubicBezTo>
                  <a:cubicBezTo>
                    <a:pt x="1364" y="1094"/>
                    <a:pt x="1367" y="1083"/>
                    <a:pt x="1370" y="1072"/>
                  </a:cubicBezTo>
                  <a:cubicBezTo>
                    <a:pt x="1423" y="1094"/>
                    <a:pt x="1482" y="1108"/>
                    <a:pt x="1557" y="1108"/>
                  </a:cubicBezTo>
                  <a:cubicBezTo>
                    <a:pt x="1871" y="1108"/>
                    <a:pt x="1988" y="879"/>
                    <a:pt x="2010" y="795"/>
                  </a:cubicBezTo>
                  <a:cubicBezTo>
                    <a:pt x="2025" y="742"/>
                    <a:pt x="2018" y="711"/>
                    <a:pt x="1981" y="711"/>
                  </a:cubicBezTo>
                  <a:cubicBezTo>
                    <a:pt x="1994" y="785"/>
                    <a:pt x="1899" y="1072"/>
                    <a:pt x="1557" y="1072"/>
                  </a:cubicBezTo>
                  <a:cubicBezTo>
                    <a:pt x="1490" y="1072"/>
                    <a:pt x="1431" y="1059"/>
                    <a:pt x="1377" y="1037"/>
                  </a:cubicBezTo>
                  <a:cubicBezTo>
                    <a:pt x="1379" y="1026"/>
                    <a:pt x="1380" y="1014"/>
                    <a:pt x="1382" y="1003"/>
                  </a:cubicBezTo>
                  <a:cubicBezTo>
                    <a:pt x="1420" y="1018"/>
                    <a:pt x="1479" y="1035"/>
                    <a:pt x="1557" y="1035"/>
                  </a:cubicBezTo>
                  <a:cubicBezTo>
                    <a:pt x="1794" y="1035"/>
                    <a:pt x="1908" y="877"/>
                    <a:pt x="1932" y="781"/>
                  </a:cubicBezTo>
                  <a:cubicBezTo>
                    <a:pt x="1943" y="739"/>
                    <a:pt x="1936" y="711"/>
                    <a:pt x="1902" y="711"/>
                  </a:cubicBezTo>
                  <a:cubicBezTo>
                    <a:pt x="1910" y="784"/>
                    <a:pt x="1826" y="1000"/>
                    <a:pt x="1557" y="1000"/>
                  </a:cubicBezTo>
                  <a:cubicBezTo>
                    <a:pt x="1519" y="1000"/>
                    <a:pt x="1484" y="995"/>
                    <a:pt x="1455" y="988"/>
                  </a:cubicBezTo>
                  <a:cubicBezTo>
                    <a:pt x="1456" y="975"/>
                    <a:pt x="1456" y="960"/>
                    <a:pt x="1456" y="950"/>
                  </a:cubicBezTo>
                  <a:cubicBezTo>
                    <a:pt x="1456" y="749"/>
                    <a:pt x="1351" y="567"/>
                    <a:pt x="1186" y="465"/>
                  </a:cubicBezTo>
                  <a:cubicBezTo>
                    <a:pt x="1249" y="318"/>
                    <a:pt x="1390" y="204"/>
                    <a:pt x="1565" y="204"/>
                  </a:cubicBezTo>
                  <a:cubicBezTo>
                    <a:pt x="1787" y="204"/>
                    <a:pt x="1886" y="374"/>
                    <a:pt x="1896" y="426"/>
                  </a:cubicBezTo>
                  <a:cubicBezTo>
                    <a:pt x="1919" y="426"/>
                    <a:pt x="1925" y="395"/>
                    <a:pt x="1915" y="372"/>
                  </a:cubicBezTo>
                  <a:cubicBezTo>
                    <a:pt x="1892" y="314"/>
                    <a:pt x="1782" y="169"/>
                    <a:pt x="1565" y="169"/>
                  </a:cubicBezTo>
                  <a:cubicBezTo>
                    <a:pt x="1348" y="169"/>
                    <a:pt x="1187" y="321"/>
                    <a:pt x="1131" y="516"/>
                  </a:cubicBezTo>
                  <a:cubicBezTo>
                    <a:pt x="1121" y="510"/>
                    <a:pt x="1110" y="504"/>
                    <a:pt x="1099" y="499"/>
                  </a:cubicBezTo>
                  <a:cubicBezTo>
                    <a:pt x="1107" y="476"/>
                    <a:pt x="1114" y="453"/>
                    <a:pt x="1122" y="434"/>
                  </a:cubicBezTo>
                  <a:cubicBezTo>
                    <a:pt x="1192" y="257"/>
                    <a:pt x="1361" y="132"/>
                    <a:pt x="1565" y="132"/>
                  </a:cubicBezTo>
                  <a:cubicBezTo>
                    <a:pt x="1836" y="132"/>
                    <a:pt x="1966" y="343"/>
                    <a:pt x="1977" y="426"/>
                  </a:cubicBezTo>
                  <a:cubicBezTo>
                    <a:pt x="1997" y="426"/>
                    <a:pt x="2012" y="403"/>
                    <a:pt x="2003" y="378"/>
                  </a:cubicBezTo>
                  <a:cubicBezTo>
                    <a:pt x="1975" y="301"/>
                    <a:pt x="1856" y="96"/>
                    <a:pt x="1565" y="96"/>
                  </a:cubicBezTo>
                  <a:cubicBezTo>
                    <a:pt x="1346" y="96"/>
                    <a:pt x="1164" y="231"/>
                    <a:pt x="1089" y="421"/>
                  </a:cubicBezTo>
                  <a:cubicBezTo>
                    <a:pt x="1082" y="437"/>
                    <a:pt x="1074" y="460"/>
                    <a:pt x="1066" y="485"/>
                  </a:cubicBezTo>
                  <a:cubicBezTo>
                    <a:pt x="1056" y="481"/>
                    <a:pt x="1046" y="477"/>
                    <a:pt x="1036" y="474"/>
                  </a:cubicBezTo>
                  <a:cubicBezTo>
                    <a:pt x="1086" y="263"/>
                    <a:pt x="1283" y="60"/>
                    <a:pt x="1565" y="60"/>
                  </a:cubicBezTo>
                  <a:cubicBezTo>
                    <a:pt x="1936" y="60"/>
                    <a:pt x="2057" y="372"/>
                    <a:pt x="2058" y="426"/>
                  </a:cubicBezTo>
                  <a:cubicBezTo>
                    <a:pt x="2084" y="426"/>
                    <a:pt x="2093" y="398"/>
                    <a:pt x="2085" y="372"/>
                  </a:cubicBezTo>
                  <a:cubicBezTo>
                    <a:pt x="2058" y="289"/>
                    <a:pt x="1922" y="24"/>
                    <a:pt x="1565" y="24"/>
                  </a:cubicBezTo>
                  <a:cubicBezTo>
                    <a:pt x="1298" y="24"/>
                    <a:pt x="1105" y="187"/>
                    <a:pt x="1024" y="396"/>
                  </a:cubicBezTo>
                  <a:cubicBezTo>
                    <a:pt x="979" y="385"/>
                    <a:pt x="932" y="379"/>
                    <a:pt x="885" y="379"/>
                  </a:cubicBezTo>
                  <a:cubicBezTo>
                    <a:pt x="766" y="379"/>
                    <a:pt x="653" y="416"/>
                    <a:pt x="556" y="485"/>
                  </a:cubicBezTo>
                  <a:cubicBezTo>
                    <a:pt x="505" y="522"/>
                    <a:pt x="460" y="566"/>
                    <a:pt x="424" y="616"/>
                  </a:cubicBezTo>
                  <a:cubicBezTo>
                    <a:pt x="424" y="106"/>
                    <a:pt x="424" y="106"/>
                    <a:pt x="424" y="106"/>
                  </a:cubicBezTo>
                  <a:cubicBezTo>
                    <a:pt x="424" y="60"/>
                    <a:pt x="439" y="41"/>
                    <a:pt x="468" y="41"/>
                  </a:cubicBezTo>
                  <a:cubicBezTo>
                    <a:pt x="480" y="41"/>
                    <a:pt x="486" y="43"/>
                    <a:pt x="491" y="44"/>
                  </a:cubicBezTo>
                  <a:cubicBezTo>
                    <a:pt x="497" y="30"/>
                    <a:pt x="487" y="10"/>
                    <a:pt x="459" y="10"/>
                  </a:cubicBezTo>
                  <a:cubicBezTo>
                    <a:pt x="399" y="10"/>
                    <a:pt x="388" y="62"/>
                    <a:pt x="388" y="106"/>
                  </a:cubicBezTo>
                  <a:cubicBezTo>
                    <a:pt x="388" y="106"/>
                    <a:pt x="388" y="518"/>
                    <a:pt x="388" y="672"/>
                  </a:cubicBezTo>
                  <a:cubicBezTo>
                    <a:pt x="388" y="673"/>
                    <a:pt x="387" y="674"/>
                    <a:pt x="387" y="675"/>
                  </a:cubicBezTo>
                  <a:cubicBezTo>
                    <a:pt x="377" y="692"/>
                    <a:pt x="362" y="729"/>
                    <a:pt x="351" y="760"/>
                  </a:cubicBezTo>
                  <a:cubicBezTo>
                    <a:pt x="351" y="84"/>
                    <a:pt x="351" y="84"/>
                    <a:pt x="351" y="84"/>
                  </a:cubicBezTo>
                  <a:cubicBezTo>
                    <a:pt x="351" y="41"/>
                    <a:pt x="361" y="26"/>
                    <a:pt x="369" y="19"/>
                  </a:cubicBezTo>
                  <a:cubicBezTo>
                    <a:pt x="365" y="5"/>
                    <a:pt x="316" y="0"/>
                    <a:pt x="316" y="70"/>
                  </a:cubicBezTo>
                  <a:cubicBezTo>
                    <a:pt x="316" y="103"/>
                    <a:pt x="316" y="984"/>
                    <a:pt x="316" y="984"/>
                  </a:cubicBezTo>
                  <a:cubicBezTo>
                    <a:pt x="316" y="1060"/>
                    <a:pt x="351" y="1091"/>
                    <a:pt x="389" y="1091"/>
                  </a:cubicBezTo>
                  <a:cubicBezTo>
                    <a:pt x="405" y="1091"/>
                    <a:pt x="422" y="1088"/>
                    <a:pt x="434" y="1086"/>
                  </a:cubicBezTo>
                  <a:cubicBezTo>
                    <a:pt x="440" y="1084"/>
                    <a:pt x="444" y="1077"/>
                    <a:pt x="442" y="1071"/>
                  </a:cubicBezTo>
                  <a:cubicBezTo>
                    <a:pt x="430" y="1040"/>
                    <a:pt x="422" y="998"/>
                    <a:pt x="422" y="950"/>
                  </a:cubicBezTo>
                  <a:cubicBezTo>
                    <a:pt x="422" y="694"/>
                    <a:pt x="630" y="487"/>
                    <a:pt x="885" y="487"/>
                  </a:cubicBezTo>
                  <a:cubicBezTo>
                    <a:pt x="946" y="487"/>
                    <a:pt x="1003" y="498"/>
                    <a:pt x="1057" y="519"/>
                  </a:cubicBezTo>
                  <a:cubicBezTo>
                    <a:pt x="1053" y="530"/>
                    <a:pt x="1051" y="542"/>
                    <a:pt x="1048" y="553"/>
                  </a:cubicBezTo>
                  <a:cubicBezTo>
                    <a:pt x="1008" y="537"/>
                    <a:pt x="955" y="523"/>
                    <a:pt x="885" y="523"/>
                  </a:cubicBezTo>
                  <a:cubicBezTo>
                    <a:pt x="650" y="523"/>
                    <a:pt x="458" y="715"/>
                    <a:pt x="458" y="950"/>
                  </a:cubicBezTo>
                  <a:cubicBezTo>
                    <a:pt x="458" y="1011"/>
                    <a:pt x="475" y="1090"/>
                    <a:pt x="535" y="1090"/>
                  </a:cubicBezTo>
                  <a:cubicBezTo>
                    <a:pt x="564" y="1090"/>
                    <a:pt x="574" y="1070"/>
                    <a:pt x="568" y="1056"/>
                  </a:cubicBezTo>
                  <a:cubicBezTo>
                    <a:pt x="562" y="1057"/>
                    <a:pt x="556" y="1059"/>
                    <a:pt x="544" y="1059"/>
                  </a:cubicBezTo>
                  <a:cubicBezTo>
                    <a:pt x="516" y="1059"/>
                    <a:pt x="494" y="1021"/>
                    <a:pt x="494" y="950"/>
                  </a:cubicBezTo>
                  <a:cubicBezTo>
                    <a:pt x="494" y="734"/>
                    <a:pt x="669" y="559"/>
                    <a:pt x="885" y="559"/>
                  </a:cubicBezTo>
                  <a:cubicBezTo>
                    <a:pt x="959" y="559"/>
                    <a:pt x="1016" y="577"/>
                    <a:pt x="1056" y="597"/>
                  </a:cubicBezTo>
                  <a:cubicBezTo>
                    <a:pt x="1065" y="601"/>
                    <a:pt x="1075" y="595"/>
                    <a:pt x="1077" y="585"/>
                  </a:cubicBezTo>
                  <a:cubicBezTo>
                    <a:pt x="1079" y="571"/>
                    <a:pt x="1084" y="553"/>
                    <a:pt x="1089" y="534"/>
                  </a:cubicBezTo>
                  <a:cubicBezTo>
                    <a:pt x="1243" y="609"/>
                    <a:pt x="1349" y="768"/>
                    <a:pt x="1349" y="950"/>
                  </a:cubicBezTo>
                  <a:cubicBezTo>
                    <a:pt x="1349" y="974"/>
                    <a:pt x="1347" y="998"/>
                    <a:pt x="1343" y="1021"/>
                  </a:cubicBezTo>
                  <a:cubicBezTo>
                    <a:pt x="1328" y="1014"/>
                    <a:pt x="1314" y="1005"/>
                    <a:pt x="1299" y="996"/>
                  </a:cubicBezTo>
                  <a:cubicBezTo>
                    <a:pt x="1283" y="987"/>
                    <a:pt x="1274" y="994"/>
                    <a:pt x="1272" y="1009"/>
                  </a:cubicBezTo>
                  <a:cubicBezTo>
                    <a:pt x="1244" y="1200"/>
                    <a:pt x="1086" y="1341"/>
                    <a:pt x="894" y="1341"/>
                  </a:cubicBezTo>
                  <a:cubicBezTo>
                    <a:pt x="763" y="1341"/>
                    <a:pt x="691" y="1290"/>
                    <a:pt x="672" y="1250"/>
                  </a:cubicBezTo>
                  <a:cubicBezTo>
                    <a:pt x="662" y="1253"/>
                    <a:pt x="654" y="1262"/>
                    <a:pt x="654" y="1276"/>
                  </a:cubicBezTo>
                  <a:cubicBezTo>
                    <a:pt x="654" y="1300"/>
                    <a:pt x="694" y="1327"/>
                    <a:pt x="721" y="1340"/>
                  </a:cubicBezTo>
                  <a:cubicBezTo>
                    <a:pt x="761" y="1360"/>
                    <a:pt x="815" y="1377"/>
                    <a:pt x="894" y="1377"/>
                  </a:cubicBezTo>
                  <a:cubicBezTo>
                    <a:pt x="1095" y="1377"/>
                    <a:pt x="1261" y="1235"/>
                    <a:pt x="1303" y="1040"/>
                  </a:cubicBezTo>
                  <a:cubicBezTo>
                    <a:pt x="1314" y="1046"/>
                    <a:pt x="1325" y="1052"/>
                    <a:pt x="1337" y="1058"/>
                  </a:cubicBezTo>
                  <a:cubicBezTo>
                    <a:pt x="1290" y="1261"/>
                    <a:pt x="1113" y="1413"/>
                    <a:pt x="895" y="1413"/>
                  </a:cubicBezTo>
                  <a:cubicBezTo>
                    <a:pt x="713" y="1413"/>
                    <a:pt x="621" y="1325"/>
                    <a:pt x="616" y="1296"/>
                  </a:cubicBezTo>
                  <a:cubicBezTo>
                    <a:pt x="602" y="1296"/>
                    <a:pt x="594" y="1307"/>
                    <a:pt x="594" y="1320"/>
                  </a:cubicBezTo>
                  <a:cubicBezTo>
                    <a:pt x="594" y="1335"/>
                    <a:pt x="606" y="1350"/>
                    <a:pt x="619" y="1361"/>
                  </a:cubicBezTo>
                  <a:cubicBezTo>
                    <a:pt x="653" y="1392"/>
                    <a:pt x="738" y="1449"/>
                    <a:pt x="895" y="1449"/>
                  </a:cubicBezTo>
                  <a:cubicBezTo>
                    <a:pt x="1103" y="1449"/>
                    <a:pt x="1277" y="1320"/>
                    <a:pt x="1349" y="1138"/>
                  </a:cubicBezTo>
                  <a:cubicBezTo>
                    <a:pt x="1359" y="1143"/>
                    <a:pt x="1371" y="1147"/>
                    <a:pt x="1382" y="1152"/>
                  </a:cubicBezTo>
                  <a:cubicBezTo>
                    <a:pt x="1304" y="1348"/>
                    <a:pt x="1116" y="1485"/>
                    <a:pt x="894" y="1485"/>
                  </a:cubicBezTo>
                  <a:cubicBezTo>
                    <a:pt x="688" y="1485"/>
                    <a:pt x="549" y="1379"/>
                    <a:pt x="534" y="1297"/>
                  </a:cubicBezTo>
                  <a:cubicBezTo>
                    <a:pt x="522" y="1297"/>
                    <a:pt x="509" y="1308"/>
                    <a:pt x="509" y="1325"/>
                  </a:cubicBezTo>
                  <a:cubicBezTo>
                    <a:pt x="509" y="1338"/>
                    <a:pt x="520" y="1357"/>
                    <a:pt x="523" y="1362"/>
                  </a:cubicBezTo>
                  <a:cubicBezTo>
                    <a:pt x="554" y="1410"/>
                    <a:pt x="665" y="1521"/>
                    <a:pt x="894" y="1521"/>
                  </a:cubicBezTo>
                  <a:cubicBezTo>
                    <a:pt x="1132" y="1521"/>
                    <a:pt x="1334" y="1373"/>
                    <a:pt x="1416" y="1162"/>
                  </a:cubicBezTo>
                  <a:cubicBezTo>
                    <a:pt x="1455" y="1173"/>
                    <a:pt x="1501" y="1179"/>
                    <a:pt x="1557" y="1179"/>
                  </a:cubicBezTo>
                  <a:cubicBezTo>
                    <a:pt x="1928" y="1179"/>
                    <a:pt x="2065" y="901"/>
                    <a:pt x="2089" y="800"/>
                  </a:cubicBezTo>
                  <a:cubicBezTo>
                    <a:pt x="2104" y="734"/>
                    <a:pt x="2096" y="711"/>
                    <a:pt x="2062" y="711"/>
                  </a:cubicBezTo>
                  <a:close/>
                  <a:moveTo>
                    <a:pt x="1002" y="465"/>
                  </a:moveTo>
                  <a:cubicBezTo>
                    <a:pt x="964" y="456"/>
                    <a:pt x="925" y="451"/>
                    <a:pt x="885" y="451"/>
                  </a:cubicBezTo>
                  <a:cubicBezTo>
                    <a:pt x="610" y="451"/>
                    <a:pt x="386" y="675"/>
                    <a:pt x="386" y="950"/>
                  </a:cubicBezTo>
                  <a:cubicBezTo>
                    <a:pt x="386" y="982"/>
                    <a:pt x="388" y="1021"/>
                    <a:pt x="400" y="1055"/>
                  </a:cubicBezTo>
                  <a:cubicBezTo>
                    <a:pt x="364" y="1065"/>
                    <a:pt x="351" y="1028"/>
                    <a:pt x="351" y="984"/>
                  </a:cubicBezTo>
                  <a:cubicBezTo>
                    <a:pt x="351" y="984"/>
                    <a:pt x="351" y="979"/>
                    <a:pt x="351" y="968"/>
                  </a:cubicBezTo>
                  <a:cubicBezTo>
                    <a:pt x="354" y="837"/>
                    <a:pt x="385" y="763"/>
                    <a:pt x="385" y="763"/>
                  </a:cubicBezTo>
                  <a:cubicBezTo>
                    <a:pt x="422" y="661"/>
                    <a:pt x="490" y="577"/>
                    <a:pt x="577" y="514"/>
                  </a:cubicBezTo>
                  <a:cubicBezTo>
                    <a:pt x="667" y="449"/>
                    <a:pt x="774" y="415"/>
                    <a:pt x="885" y="415"/>
                  </a:cubicBezTo>
                  <a:cubicBezTo>
                    <a:pt x="928" y="415"/>
                    <a:pt x="971" y="420"/>
                    <a:pt x="1012" y="430"/>
                  </a:cubicBezTo>
                  <a:cubicBezTo>
                    <a:pt x="1008" y="441"/>
                    <a:pt x="1005" y="453"/>
                    <a:pt x="1002" y="465"/>
                  </a:cubicBezTo>
                  <a:close/>
                  <a:moveTo>
                    <a:pt x="1162" y="535"/>
                  </a:moveTo>
                  <a:cubicBezTo>
                    <a:pt x="1166" y="523"/>
                    <a:pt x="1169" y="511"/>
                    <a:pt x="1173" y="499"/>
                  </a:cubicBezTo>
                  <a:cubicBezTo>
                    <a:pt x="1324" y="595"/>
                    <a:pt x="1421" y="764"/>
                    <a:pt x="1421" y="950"/>
                  </a:cubicBezTo>
                  <a:cubicBezTo>
                    <a:pt x="1421" y="959"/>
                    <a:pt x="1420" y="968"/>
                    <a:pt x="1420" y="978"/>
                  </a:cubicBezTo>
                  <a:cubicBezTo>
                    <a:pt x="1406" y="973"/>
                    <a:pt x="1394" y="969"/>
                    <a:pt x="1384" y="964"/>
                  </a:cubicBezTo>
                  <a:cubicBezTo>
                    <a:pt x="1384" y="960"/>
                    <a:pt x="1384" y="955"/>
                    <a:pt x="1384" y="950"/>
                  </a:cubicBezTo>
                  <a:cubicBezTo>
                    <a:pt x="1384" y="777"/>
                    <a:pt x="1296" y="625"/>
                    <a:pt x="1162" y="53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725130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8_Final_legal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0" y="-1"/>
            <a:ext cx="12198349" cy="6861931"/>
          </a:xfrm>
          <a:prstGeom prst="rect">
            <a:avLst/>
          </a:prstGeom>
        </p:spPr>
      </p:pic>
      <p:sp>
        <p:nvSpPr>
          <p:cNvPr id="6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8566" y="292413"/>
            <a:ext cx="3142800" cy="521017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D200"/>
              </a:buClr>
              <a:buSzPct val="70000"/>
              <a:buFontTx/>
              <a:buNone/>
              <a:tabLst/>
              <a:defRPr kumimoji="0" lang="de-DE" sz="1100" b="1" i="0" u="none" strike="noStrike" kern="0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D200"/>
              </a:buClr>
              <a:buSzPct val="70000"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EY 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Arial"/>
              </a:rPr>
              <a:t>|  Assurance | Tax | Transactions | Advisory </a:t>
            </a:r>
            <a:b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Arial"/>
              </a:rPr>
            </a:br>
            <a:b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Arial"/>
              </a:rPr>
            </a:b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Arial"/>
              </a:rPr>
              <a:t>Refer to The Branding Zone for the latest boilerplate language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D200"/>
              </a:buClr>
              <a:buSzPct val="70000"/>
              <a:buFontTx/>
              <a:buNone/>
              <a:tabLst/>
              <a:defRPr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822270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 hasCustomPrompt="1"/>
          </p:nvPr>
        </p:nvSpPr>
        <p:spPr>
          <a:xfrm>
            <a:off x="609917" y="1137920"/>
            <a:ext cx="4957505" cy="426745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Click icon to add table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33461" y="3813288"/>
            <a:ext cx="3089275" cy="180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Name Surname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33461" y="4055931"/>
            <a:ext cx="3089275" cy="180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Job Title to go here</a:t>
            </a:r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00A15EA9-2372-4E06-83C2-1E13AB1FA62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123007" y="3578083"/>
            <a:ext cx="778959" cy="778959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tab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23008" y="1137920"/>
            <a:ext cx="5465425" cy="37380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23008" y="1635009"/>
            <a:ext cx="5465425" cy="1611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US" noProof="0" dirty="0"/>
              <a:t>Content EY Interstate Light, 16pt, Lorem ipsum dolor, 12pt, </a:t>
            </a:r>
            <a:r>
              <a:rPr lang="en-US" noProof="0" dirty="0" err="1"/>
              <a:t>Utinam</a:t>
            </a:r>
            <a:r>
              <a:rPr lang="en-US" noProof="0" dirty="0"/>
              <a:t> </a:t>
            </a:r>
            <a:r>
              <a:rPr lang="en-US" noProof="0" dirty="0" err="1"/>
              <a:t>nonumy</a:t>
            </a:r>
            <a:r>
              <a:rPr lang="en-US" noProof="0" dirty="0"/>
              <a:t> </a:t>
            </a:r>
            <a:r>
              <a:rPr lang="en-US" noProof="0" dirty="0" err="1"/>
              <a:t>abhorreant</a:t>
            </a:r>
            <a:r>
              <a:rPr lang="en-US" noProof="0" dirty="0"/>
              <a:t> </a:t>
            </a:r>
            <a:r>
              <a:rPr lang="en-US" noProof="0" dirty="0" err="1"/>
              <a:t>sead</a:t>
            </a:r>
            <a:r>
              <a:rPr lang="en-US" noProof="0" dirty="0"/>
              <a:t>. </a:t>
            </a:r>
            <a:r>
              <a:rPr lang="en-US" noProof="0" dirty="0" err="1"/>
              <a:t>Putant</a:t>
            </a:r>
            <a:r>
              <a:rPr lang="en-US" noProof="0" dirty="0"/>
              <a:t> </a:t>
            </a:r>
            <a:r>
              <a:rPr lang="en-US" noProof="0" dirty="0" err="1"/>
              <a:t>probatus</a:t>
            </a:r>
            <a:r>
              <a:rPr lang="en-US" noProof="0" dirty="0"/>
              <a:t> id vis, ad his </a:t>
            </a:r>
            <a:r>
              <a:rPr lang="en-US" noProof="0" dirty="0" err="1"/>
              <a:t>meis</a:t>
            </a:r>
            <a:r>
              <a:rPr lang="en-US" noProof="0" dirty="0"/>
              <a:t> </a:t>
            </a:r>
            <a:r>
              <a:rPr lang="en-US" noProof="0" dirty="0" err="1"/>
              <a:t>habemus</a:t>
            </a:r>
            <a:r>
              <a:rPr lang="en-US" noProof="0" dirty="0"/>
              <a:t> </a:t>
            </a:r>
            <a:r>
              <a:rPr lang="en-US" noProof="0" dirty="0" err="1"/>
              <a:t>repudiare</a:t>
            </a:r>
            <a:r>
              <a:rPr lang="en-US" noProof="0" dirty="0"/>
              <a:t>, has an </a:t>
            </a:r>
            <a:r>
              <a:rPr lang="en-US" noProof="0" dirty="0" err="1"/>
              <a:t>pericula</a:t>
            </a:r>
            <a:r>
              <a:rPr lang="en-US" noProof="0" dirty="0"/>
              <a:t> </a:t>
            </a:r>
            <a:r>
              <a:rPr lang="en-US" noProof="0" dirty="0" err="1"/>
              <a:t>tractatos</a:t>
            </a:r>
            <a:r>
              <a:rPr lang="en-US" noProof="0" dirty="0"/>
              <a:t>. </a:t>
            </a:r>
            <a:r>
              <a:rPr lang="en-US" noProof="0" dirty="0" err="1"/>
              <a:t>Nec</a:t>
            </a:r>
            <a:r>
              <a:rPr lang="en-US" noProof="0" dirty="0"/>
              <a:t> </a:t>
            </a:r>
            <a:r>
              <a:rPr lang="en-US" noProof="0" dirty="0" err="1"/>
              <a:t>debitis</a:t>
            </a:r>
            <a:r>
              <a:rPr lang="en-US" noProof="0" dirty="0"/>
              <a:t> </a:t>
            </a:r>
            <a:r>
              <a:rPr lang="en-US" noProof="0" dirty="0" err="1"/>
              <a:t>dissentias</a:t>
            </a:r>
            <a:r>
              <a:rPr lang="en-US" noProof="0" dirty="0"/>
              <a:t> ad. </a:t>
            </a:r>
            <a:r>
              <a:rPr lang="en-US" noProof="0" dirty="0" err="1"/>
              <a:t>Patrioque</a:t>
            </a:r>
            <a:r>
              <a:rPr lang="en-US" noProof="0" dirty="0"/>
              <a:t> </a:t>
            </a:r>
            <a:r>
              <a:rPr lang="en-US" noProof="0" dirty="0" err="1"/>
              <a:t>voluptatum</a:t>
            </a:r>
            <a:r>
              <a:rPr lang="en-US" noProof="0" dirty="0"/>
              <a:t> </a:t>
            </a:r>
            <a:r>
              <a:rPr lang="en-US" noProof="0" dirty="0" err="1"/>
              <a:t>sed</a:t>
            </a:r>
            <a:r>
              <a:rPr lang="en-US" noProof="0" dirty="0"/>
              <a:t> ex, id </a:t>
            </a:r>
            <a:r>
              <a:rPr lang="en-US" noProof="0" dirty="0" err="1"/>
              <a:t>admodum</a:t>
            </a:r>
            <a:r>
              <a:rPr lang="en-US" noProof="0" dirty="0"/>
              <a:t>.</a:t>
            </a:r>
          </a:p>
          <a:p>
            <a:pPr lvl="0"/>
            <a:endParaRPr lang="en-US" noProof="0" dirty="0"/>
          </a:p>
        </p:txBody>
      </p:sp>
      <p:sp>
        <p:nvSpPr>
          <p:cNvPr id="20" name="Line 10">
            <a:extLst>
              <a:ext uri="{FF2B5EF4-FFF2-40B4-BE49-F238E27FC236}">
                <a16:creationId xmlns:a16="http://schemas.microsoft.com/office/drawing/2014/main" id="{B69EB865-6B86-419B-923C-F7DDC68C9C6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5822E28-B24F-4CF6-8F50-70ED7C22A114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B9C240D9-3735-49C9-A196-6B66C851109A}" type="datetime3">
              <a:rPr lang="en-US" noProof="0" smtClean="0"/>
              <a:t>19 September 2023</a:t>
            </a:fld>
            <a:endParaRPr lang="en-US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65E1CD-A05B-41DC-B488-E4BA204E7AE5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 noProof="0" dirty="0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716ABDB-CF45-4001-9487-F3BA3DD8DAC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US" noProof="0" dirty="0"/>
              <a:t>Page </a:t>
            </a:r>
            <a:fld id="{F1BC30E3-FFE5-4B91-AA19-87A149EBB9E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3310098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622940" y="795662"/>
            <a:ext cx="4930412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grpSp>
        <p:nvGrpSpPr>
          <p:cNvPr id="3" name="Group 4">
            <a:extLst>
              <a:ext uri="{FF2B5EF4-FFF2-40B4-BE49-F238E27FC236}">
                <a16:creationId xmlns:a16="http://schemas.microsoft.com/office/drawing/2014/main" id="{C8422AE9-8257-41A9-AB41-1F10585C886F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D19659BD-653C-4300-9060-420AFAE395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A4669336-72A1-4233-827A-C41AB4C1CC0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</p:grp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900329" y="1954221"/>
            <a:ext cx="4328932" cy="979702"/>
          </a:xfr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00329" y="3046158"/>
            <a:ext cx="4328932" cy="1046323"/>
          </a:xfrm>
          <a:prstGeom prst="rect">
            <a:avLst/>
          </a:prstGeom>
        </p:spPr>
        <p:txBody>
          <a:bodyPr/>
          <a:lstStyle>
            <a:lvl1pPr marL="0" indent="0" algn="l">
              <a:spcAft>
                <a:spcPts val="1200"/>
              </a:spcAft>
              <a:buNone/>
              <a:defRPr sz="2000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 b="1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01887" y="440057"/>
            <a:ext cx="1880290" cy="96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81949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30">
          <p15:clr>
            <a:srgbClr val="FBAE40"/>
          </p15:clr>
        </p15:guide>
        <p15:guide id="2" pos="553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 hasCustomPrompt="1"/>
          </p:nvPr>
        </p:nvSpPr>
        <p:spPr>
          <a:xfrm>
            <a:off x="609917" y="1137920"/>
            <a:ext cx="4957505" cy="426745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Click icon to add table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33461" y="3813288"/>
            <a:ext cx="3089275" cy="1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Name Surname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33461" y="4055931"/>
            <a:ext cx="3089275" cy="1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Job Title to go here</a:t>
            </a:r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00A15EA9-2372-4E06-83C2-1E13AB1FA62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123007" y="3578083"/>
            <a:ext cx="778959" cy="778959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23008" y="1137920"/>
            <a:ext cx="5465425" cy="37380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23008" y="1635009"/>
            <a:ext cx="5465425" cy="161155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</a:lstStyle>
          <a:p>
            <a:pPr lvl="0"/>
            <a:r>
              <a:rPr lang="en-US" noProof="0" dirty="0"/>
              <a:t>Content EY Interstate Light, 16pt, Lorem ipsum dolor, 12pt, </a:t>
            </a:r>
            <a:r>
              <a:rPr lang="en-US" noProof="0" dirty="0" err="1"/>
              <a:t>Utinam</a:t>
            </a:r>
            <a:r>
              <a:rPr lang="en-US" noProof="0" dirty="0"/>
              <a:t> </a:t>
            </a:r>
            <a:r>
              <a:rPr lang="en-US" noProof="0" dirty="0" err="1"/>
              <a:t>nonumy</a:t>
            </a:r>
            <a:r>
              <a:rPr lang="en-US" noProof="0" dirty="0"/>
              <a:t> </a:t>
            </a:r>
            <a:r>
              <a:rPr lang="en-US" noProof="0" dirty="0" err="1"/>
              <a:t>abhorreant</a:t>
            </a:r>
            <a:r>
              <a:rPr lang="en-US" noProof="0" dirty="0"/>
              <a:t> </a:t>
            </a:r>
            <a:r>
              <a:rPr lang="en-US" noProof="0" dirty="0" err="1"/>
              <a:t>sead</a:t>
            </a:r>
            <a:r>
              <a:rPr lang="en-US" noProof="0" dirty="0"/>
              <a:t>. </a:t>
            </a:r>
            <a:r>
              <a:rPr lang="en-US" noProof="0" dirty="0" err="1"/>
              <a:t>Putant</a:t>
            </a:r>
            <a:r>
              <a:rPr lang="en-US" noProof="0" dirty="0"/>
              <a:t> </a:t>
            </a:r>
            <a:r>
              <a:rPr lang="en-US" noProof="0" dirty="0" err="1"/>
              <a:t>probatus</a:t>
            </a:r>
            <a:r>
              <a:rPr lang="en-US" noProof="0" dirty="0"/>
              <a:t> id vis, ad his </a:t>
            </a:r>
            <a:r>
              <a:rPr lang="en-US" noProof="0" dirty="0" err="1"/>
              <a:t>meis</a:t>
            </a:r>
            <a:r>
              <a:rPr lang="en-US" noProof="0" dirty="0"/>
              <a:t> </a:t>
            </a:r>
            <a:r>
              <a:rPr lang="en-US" noProof="0" dirty="0" err="1"/>
              <a:t>habemus</a:t>
            </a:r>
            <a:r>
              <a:rPr lang="en-US" noProof="0" dirty="0"/>
              <a:t> </a:t>
            </a:r>
            <a:r>
              <a:rPr lang="en-US" noProof="0" dirty="0" err="1"/>
              <a:t>repudiare</a:t>
            </a:r>
            <a:r>
              <a:rPr lang="en-US" noProof="0" dirty="0"/>
              <a:t>, has an </a:t>
            </a:r>
            <a:r>
              <a:rPr lang="en-US" noProof="0" dirty="0" err="1"/>
              <a:t>pericula</a:t>
            </a:r>
            <a:r>
              <a:rPr lang="en-US" noProof="0" dirty="0"/>
              <a:t> </a:t>
            </a:r>
            <a:r>
              <a:rPr lang="en-US" noProof="0" dirty="0" err="1"/>
              <a:t>tractatos</a:t>
            </a:r>
            <a:r>
              <a:rPr lang="en-US" noProof="0" dirty="0"/>
              <a:t>. </a:t>
            </a:r>
            <a:r>
              <a:rPr lang="en-US" noProof="0" dirty="0" err="1"/>
              <a:t>Nec</a:t>
            </a:r>
            <a:r>
              <a:rPr lang="en-US" noProof="0" dirty="0"/>
              <a:t> </a:t>
            </a:r>
            <a:r>
              <a:rPr lang="en-US" noProof="0" dirty="0" err="1"/>
              <a:t>debitis</a:t>
            </a:r>
            <a:r>
              <a:rPr lang="en-US" noProof="0" dirty="0"/>
              <a:t> </a:t>
            </a:r>
            <a:r>
              <a:rPr lang="en-US" noProof="0" dirty="0" err="1"/>
              <a:t>dissentias</a:t>
            </a:r>
            <a:r>
              <a:rPr lang="en-US" noProof="0" dirty="0"/>
              <a:t> ad. </a:t>
            </a:r>
            <a:r>
              <a:rPr lang="en-US" noProof="0" dirty="0" err="1"/>
              <a:t>Patrioque</a:t>
            </a:r>
            <a:r>
              <a:rPr lang="en-US" noProof="0" dirty="0"/>
              <a:t> </a:t>
            </a:r>
            <a:r>
              <a:rPr lang="en-US" noProof="0" dirty="0" err="1"/>
              <a:t>voluptatum</a:t>
            </a:r>
            <a:r>
              <a:rPr lang="en-US" noProof="0" dirty="0"/>
              <a:t> </a:t>
            </a:r>
            <a:r>
              <a:rPr lang="en-US" noProof="0" dirty="0" err="1"/>
              <a:t>sed</a:t>
            </a:r>
            <a:r>
              <a:rPr lang="en-US" noProof="0" dirty="0"/>
              <a:t> ex, id </a:t>
            </a:r>
            <a:r>
              <a:rPr lang="en-US" noProof="0" dirty="0" err="1"/>
              <a:t>admodum</a:t>
            </a:r>
            <a:r>
              <a:rPr lang="en-US" noProof="0" dirty="0"/>
              <a:t>.</a:t>
            </a:r>
          </a:p>
          <a:p>
            <a:pPr lvl="0"/>
            <a:endParaRPr lang="en-US" noProof="0" dirty="0"/>
          </a:p>
        </p:txBody>
      </p:sp>
      <p:sp>
        <p:nvSpPr>
          <p:cNvPr id="20" name="Line 10">
            <a:extLst>
              <a:ext uri="{FF2B5EF4-FFF2-40B4-BE49-F238E27FC236}">
                <a16:creationId xmlns:a16="http://schemas.microsoft.com/office/drawing/2014/main" id="{B69EB865-6B86-419B-923C-F7DDC68C9C6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5822E28-B24F-4CF6-8F50-70ED7C22A114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B9C240D9-3735-49C9-A196-6B66C851109A}" type="datetime3">
              <a:rPr lang="en-US" noProof="0" smtClean="0"/>
              <a:t>19 September 2023</a:t>
            </a:fld>
            <a:endParaRPr lang="en-US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65E1CD-A05B-41DC-B488-E4BA204E7AE5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 noProof="0" dirty="0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716ABDB-CF45-4001-9487-F3BA3DD8DAC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US" noProof="0" dirty="0"/>
              <a:t>Page </a:t>
            </a:r>
            <a:fld id="{F1BC30E3-FFE5-4B91-AA19-87A149EBB9E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5427377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918" y="1137919"/>
            <a:ext cx="8238744" cy="495490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</a:lstStyle>
          <a:p>
            <a:pPr lvl="0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Click to edit Master text styles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Fourth level</a:t>
            </a: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CF130104-FAF2-4309-9701-573F3774313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0869D6F-A030-48CA-9C7C-9FC3A6F1F6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EB5111-4321-4A8B-8136-0060A1CE4C12}" type="datetime3">
              <a:rPr lang="en-US" noProof="0" smtClean="0"/>
              <a:t>19 September 2023</a:t>
            </a:fld>
            <a:endParaRPr lang="en-US" noProof="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02C3F7-BD0A-4AD4-95D8-328DA6F539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E4422C8-68BE-4650-89F1-3BECCFF9B5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noProof="0" dirty="0"/>
              <a:t>Page </a:t>
            </a:r>
            <a:fld id="{F1BC30E3-FFE5-4B91-AA19-87A149EBB9E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4321753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andard_picture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8199120" y="0"/>
            <a:ext cx="3999231" cy="685799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918" y="294200"/>
            <a:ext cx="7300800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918" y="1137921"/>
            <a:ext cx="7299642" cy="87376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609918" y="2311401"/>
            <a:ext cx="3580117" cy="3781424"/>
          </a:xfrm>
          <a:prstGeom prst="rect">
            <a:avLst/>
          </a:prstGeom>
        </p:spPr>
        <p:txBody>
          <a:bodyPr numCol="1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C7BD71A-882B-40FB-A05F-48ECC69FF73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329443" y="2311401"/>
            <a:ext cx="3580117" cy="1254759"/>
          </a:xfrm>
          <a:prstGeom prst="rect">
            <a:avLst/>
          </a:prstGeom>
        </p:spPr>
        <p:txBody>
          <a:bodyPr numCol="1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ex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87D58C8-1517-42AA-8B2A-E449A3F6F02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329443" y="4236721"/>
            <a:ext cx="3580117" cy="1856104"/>
          </a:xfrm>
          <a:prstGeom prst="rect">
            <a:avLst/>
          </a:prstGeom>
        </p:spPr>
        <p:txBody>
          <a:bodyPr numCol="1"/>
          <a:lstStyle>
            <a:lvl1pPr marL="0" indent="0">
              <a:buNone/>
              <a:defRPr sz="1800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Quot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8FDA286-FC7C-4768-AFFF-1618056D687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F83285F-A85E-48D5-A1E9-9EA175F117DB}" type="datetime3">
              <a:rPr lang="en-US" noProof="0" smtClean="0"/>
              <a:t>19 September 2023</a:t>
            </a:fld>
            <a:endParaRPr lang="en-US" noProof="0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9C73E4D-1EBD-404A-B8F4-9B8AD7336F3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 dirty="0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159C267-49E7-46A8-B353-C5EB81154AB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 noProof="0" dirty="0"/>
              <a:t>Page </a:t>
            </a:r>
            <a:fld id="{F1BC30E3-FFE5-4B91-AA19-87A149EBB9E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3" name="Line 10">
            <a:extLst>
              <a:ext uri="{FF2B5EF4-FFF2-40B4-BE49-F238E27FC236}">
                <a16:creationId xmlns:a16="http://schemas.microsoft.com/office/drawing/2014/main" id="{E820DC59-E206-4DC0-9012-584F8EBAF730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9" y="907750"/>
            <a:ext cx="7289482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4999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157">
          <p15:clr>
            <a:srgbClr val="FBAE40"/>
          </p15:clr>
        </p15:guide>
        <p15:guide id="2" orient="horz" pos="1457">
          <p15:clr>
            <a:srgbClr val="FBAE40"/>
          </p15:clr>
        </p15:guide>
        <p15:guide id="3" pos="4976">
          <p15:clr>
            <a:srgbClr val="FBAE40"/>
          </p15:clr>
        </p15:guide>
        <p15:guide id="4" pos="2731">
          <p15:clr>
            <a:srgbClr val="FBAE40"/>
          </p15:clr>
        </p15:guide>
        <p15:guide id="5" pos="264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andard_picture_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2384460" cy="685799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5294" y="294200"/>
            <a:ext cx="8892000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695293" y="1137921"/>
            <a:ext cx="2742882" cy="495490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5727083" y="1137921"/>
            <a:ext cx="2803842" cy="4954904"/>
          </a:xfrm>
          <a:prstGeom prst="rect">
            <a:avLst/>
          </a:prstGeom>
        </p:spPr>
        <p:txBody>
          <a:bodyPr numCol="1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 userDrawn="1">
            <p:ph idx="12" hasCustomPrompt="1"/>
          </p:nvPr>
        </p:nvSpPr>
        <p:spPr>
          <a:xfrm>
            <a:off x="8819832" y="1137921"/>
            <a:ext cx="2768600" cy="2796151"/>
          </a:xfrm>
          <a:prstGeom prst="rect">
            <a:avLst/>
          </a:prstGeom>
        </p:spPr>
        <p:txBody>
          <a:bodyPr numCol="1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ext</a:t>
            </a: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B63A7CBA-3151-452E-BD2F-D3E65CE1595F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2695294" y="907750"/>
            <a:ext cx="8892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57DDD53-DA5D-4F66-8EAA-913A40461E30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F80BBD3C-0F20-4269-B5A9-643E9AB4A672}" type="datetime3">
              <a:rPr lang="en-US" noProof="0" smtClean="0"/>
              <a:t>19 September 2023</a:t>
            </a:fld>
            <a:endParaRPr lang="en-US" noProof="0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9A18168-B280-402E-8310-35BC958D390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noProof="0" dirty="0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7D562B9-5194-4705-ABBD-89576E2CC7A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 noProof="0" dirty="0"/>
              <a:t>Page </a:t>
            </a:r>
            <a:fld id="{F1BC30E3-FFE5-4B91-AA19-87A149EBB9E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161245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87">
          <p15:clr>
            <a:srgbClr val="FBAE40"/>
          </p15:clr>
        </p15:guide>
        <p15:guide id="2" pos="3434">
          <p15:clr>
            <a:srgbClr val="FBAE40"/>
          </p15:clr>
        </p15:guide>
        <p15:guide id="3" pos="3593">
          <p15:clr>
            <a:srgbClr val="FBAE40"/>
          </p15:clr>
        </p15:guide>
        <p15:guide id="4" pos="5566">
          <p15:clr>
            <a:srgbClr val="FBAE40"/>
          </p15:clr>
        </p15:guide>
        <p15:guide id="5" pos="5384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Quote_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8F291EB0-15F5-4E9A-A38B-CE3AC1452E21}"/>
              </a:ext>
            </a:extLst>
          </p:cNvPr>
          <p:cNvSpPr txBox="1">
            <a:spLocks/>
          </p:cNvSpPr>
          <p:nvPr userDrawn="1"/>
        </p:nvSpPr>
        <p:spPr>
          <a:xfrm>
            <a:off x="477351" y="1488927"/>
            <a:ext cx="2338388" cy="858838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1200" noProof="0" dirty="0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5D2AC0-B4F7-4455-9AE0-201966050A6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2526765"/>
            <a:ext cx="5292000" cy="1800000"/>
          </a:xfrm>
          <a:prstGeom prst="rect">
            <a:avLst/>
          </a:prstGeom>
        </p:spPr>
        <p:txBody>
          <a:bodyPr lIns="0" tIns="46800" rIns="90000" bIns="46800"/>
          <a:lstStyle>
            <a:lvl1pPr marL="356616" indent="-356616">
              <a:spcBef>
                <a:spcPts val="0"/>
              </a:spcBef>
              <a:buNone/>
              <a:defRPr lang="en-US" sz="2800" dirty="0" smtClean="0">
                <a:latin typeface="Georgia" panose="02040502050405020303" pitchFamily="18" charset="0"/>
              </a:defRPr>
            </a:lvl1pPr>
          </a:lstStyle>
          <a:p>
            <a:pPr marL="356616" lvl="0" indent="-356616">
              <a:spcBef>
                <a:spcPts val="0"/>
              </a:spcBef>
            </a:pPr>
            <a:r>
              <a:rPr lang="en-US" noProof="0" dirty="0"/>
              <a:t>Click to edit Master title style</a:t>
            </a:r>
            <a:endParaRPr lang="de-DE" noProof="0" dirty="0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1BA83A2-78F0-4F7E-836B-9B4B87820F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0" y="4632765"/>
            <a:ext cx="5292000" cy="316838"/>
          </a:xfrm>
          <a:prstGeom prst="rect">
            <a:avLst/>
          </a:prstGeom>
        </p:spPr>
        <p:txBody>
          <a:bodyPr lIns="0" tIns="46800" rIns="90000" bIns="46800"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6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56616" indent="0">
              <a:buNone/>
              <a:defRPr lang="en-US" sz="2000" smtClean="0">
                <a:latin typeface="+mn-lt"/>
              </a:defRPr>
            </a:lvl2pPr>
            <a:lvl3pPr>
              <a:defRPr lang="en-US" sz="1800" smtClean="0">
                <a:latin typeface="+mn-lt"/>
              </a:defRPr>
            </a:lvl3pPr>
            <a:lvl4pPr>
              <a:defRPr lang="en-US" sz="1600" smtClean="0">
                <a:latin typeface="+mn-lt"/>
              </a:defRPr>
            </a:lvl4pPr>
            <a:lvl5pPr>
              <a:defRPr lang="en-IN" sz="16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noProof="0" dirty="0"/>
              <a:t>Name Surnam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34CE9DD-CE12-4D9F-8FD6-A2522F36C8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4971442"/>
            <a:ext cx="5292000" cy="316838"/>
          </a:xfrm>
          <a:prstGeom prst="rect">
            <a:avLst/>
          </a:prstGeom>
        </p:spPr>
        <p:txBody>
          <a:bodyPr lIns="0" tIns="46800" rIns="90000" bIns="46800"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6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6616" indent="0">
              <a:buNone/>
              <a:defRPr lang="en-US" sz="2000" smtClean="0">
                <a:latin typeface="+mn-lt"/>
              </a:defRPr>
            </a:lvl2pPr>
            <a:lvl3pPr>
              <a:defRPr lang="en-US" sz="1800" smtClean="0">
                <a:latin typeface="+mn-lt"/>
              </a:defRPr>
            </a:lvl3pPr>
            <a:lvl4pPr>
              <a:defRPr lang="en-US" sz="1600" smtClean="0">
                <a:latin typeface="+mn-lt"/>
              </a:defRPr>
            </a:lvl4pPr>
            <a:lvl5pPr>
              <a:defRPr lang="en-IN" sz="16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noProof="0" dirty="0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423622147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Quote_cente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28D7EA5-A532-4D8B-9984-8F3D1FEA98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82751" y="2060235"/>
            <a:ext cx="7632848" cy="302552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ctr">
              <a:spcBef>
                <a:spcPts val="0"/>
              </a:spcBef>
              <a:spcAft>
                <a:spcPts val="0"/>
              </a:spcAft>
              <a:buNone/>
              <a:defRPr lang="en-US" sz="2800" dirty="0" smtClean="0">
                <a:latin typeface="Georgia" panose="02040502050405020303" pitchFamily="18" charset="0"/>
              </a:defRPr>
            </a:lvl1pPr>
          </a:lstStyle>
          <a:p>
            <a:pPr marL="356616" lvl="0" indent="-356616" algn="ctr">
              <a:spcBef>
                <a:spcPts val="0"/>
              </a:spcBef>
            </a:pPr>
            <a:r>
              <a:rPr lang="en-US" noProof="0" dirty="0"/>
              <a:t>Click to edit Master title style</a:t>
            </a:r>
            <a:endParaRPr lang="de-DE" noProof="0" dirty="0"/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9F9B9C3C-16F2-40B2-A460-0480520ECF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82751" y="5445367"/>
            <a:ext cx="7632848" cy="31683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spcAft>
                <a:spcPts val="0"/>
              </a:spcAft>
              <a:buNone/>
              <a:defRPr lang="en-US" sz="1600" dirty="0" smtClean="0">
                <a:solidFill>
                  <a:srgbClr val="FFE600"/>
                </a:solidFill>
                <a:latin typeface="+mn-lt"/>
              </a:defRPr>
            </a:lvl1pPr>
          </a:lstStyle>
          <a:p>
            <a:pPr marL="356616" lvl="0" indent="-356616" algn="ctr">
              <a:spcBef>
                <a:spcPts val="0"/>
              </a:spcBef>
              <a:spcAft>
                <a:spcPts val="600"/>
              </a:spcAft>
            </a:pPr>
            <a:r>
              <a:rPr lang="en-US" noProof="0" dirty="0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04541C-CC5D-4455-8271-73223AE0A8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82751" y="5780617"/>
            <a:ext cx="7632848" cy="31683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spcAft>
                <a:spcPts val="0"/>
              </a:spcAft>
              <a:buNone/>
              <a:defRPr lang="en-US" sz="1600" dirty="0" smtClean="0">
                <a:latin typeface="+mn-lt"/>
              </a:defRPr>
            </a:lvl1pPr>
          </a:lstStyle>
          <a:p>
            <a:pPr marL="356616" lvl="0" indent="-356616" algn="ctr">
              <a:spcBef>
                <a:spcPts val="0"/>
              </a:spcBef>
              <a:spcAft>
                <a:spcPts val="600"/>
              </a:spcAft>
            </a:pPr>
            <a:r>
              <a:rPr lang="en-US" noProof="0" dirty="0"/>
              <a:t>Job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BD672D3-B116-471A-8511-D80D5D920D93}"/>
              </a:ext>
            </a:extLst>
          </p:cNvPr>
          <p:cNvSpPr txBox="1">
            <a:spLocks/>
          </p:cNvSpPr>
          <p:nvPr userDrawn="1"/>
        </p:nvSpPr>
        <p:spPr>
          <a:xfrm>
            <a:off x="4929981" y="979787"/>
            <a:ext cx="2338388" cy="882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200" noProof="0" dirty="0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</p:spTree>
    <p:extLst>
      <p:ext uri="{BB962C8B-B14F-4D97-AF65-F5344CB8AC3E}">
        <p14:creationId xmlns:p14="http://schemas.microsoft.com/office/powerpoint/2010/main" val="393987115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Key_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8EDF149-816A-4257-A64D-E23E91A506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DA559F-DADA-431C-A6FD-3B97C6CEA495}" type="datetime3">
              <a:rPr lang="en-US" noProof="0" smtClean="0"/>
              <a:t>19 September 2023</a:t>
            </a:fld>
            <a:endParaRPr lang="en-US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678256F-B716-4FA1-B0CC-85D20C72FC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2344F6A-D6D0-4CE3-8495-873C004D38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noProof="0" dirty="0"/>
              <a:t>Page </a:t>
            </a:r>
            <a:fld id="{F1BC30E3-FFE5-4B91-AA19-87A149EBB9E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257301" y="2469060"/>
            <a:ext cx="9683750" cy="784225"/>
          </a:xfrm>
          <a:prstGeom prst="rect">
            <a:avLst/>
          </a:prstGeom>
        </p:spPr>
        <p:txBody>
          <a:bodyPr anchor="b"/>
          <a:lstStyle>
            <a:lvl1pPr marL="0" indent="0" algn="ctr">
              <a:spcBef>
                <a:spcPts val="0"/>
              </a:spcBef>
              <a:buNone/>
              <a:defRPr sz="3200"/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 noProof="0" dirty="0"/>
              <a:t>Statement 32pt, EY Interstate Light</a:t>
            </a: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3111500" y="3605394"/>
            <a:ext cx="5975350" cy="1411287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FontTx/>
              <a:buNone/>
              <a:defRPr sz="1800"/>
            </a:lvl1pPr>
            <a:lvl2pPr marL="357187" indent="0" algn="ctr">
              <a:buFontTx/>
              <a:buNone/>
              <a:defRPr/>
            </a:lvl2pPr>
            <a:lvl3pPr marL="685800" indent="0" algn="ctr">
              <a:buFontTx/>
              <a:buNone/>
              <a:defRPr/>
            </a:lvl3pPr>
            <a:lvl4pPr marL="973138" indent="0" algn="ctr">
              <a:buFontTx/>
              <a:buNone/>
              <a:defRPr/>
            </a:lvl4pPr>
            <a:lvl5pPr marL="1426464" indent="0" algn="ctr">
              <a:buFontTx/>
              <a:buNone/>
              <a:defRPr/>
            </a:lvl5pPr>
          </a:lstStyle>
          <a:p>
            <a:pPr lvl="0"/>
            <a:r>
              <a:rPr lang="en-US" noProof="0" dirty="0"/>
              <a:t>Description 18pt, </a:t>
            </a:r>
            <a:r>
              <a:rPr lang="en-US" noProof="0" dirty="0" err="1"/>
              <a:t>EYInterstate</a:t>
            </a:r>
            <a:r>
              <a:rPr lang="en-US" noProof="0" dirty="0"/>
              <a:t> Light ipsum dolor sit </a:t>
            </a:r>
            <a:br>
              <a:rPr lang="en-US" noProof="0" dirty="0"/>
            </a:b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quas</a:t>
            </a:r>
            <a:r>
              <a:rPr lang="en-US" noProof="0" dirty="0"/>
              <a:t> </a:t>
            </a:r>
            <a:r>
              <a:rPr lang="en-US" noProof="0" dirty="0" err="1"/>
              <a:t>nostru</a:t>
            </a:r>
            <a:r>
              <a:rPr lang="en-US" noProof="0" dirty="0"/>
              <a:t> </a:t>
            </a:r>
            <a:r>
              <a:rPr lang="en-US" noProof="0" dirty="0" err="1"/>
              <a:t>xgfc</a:t>
            </a:r>
            <a:r>
              <a:rPr lang="en-US" noProof="0" dirty="0"/>
              <a:t> </a:t>
            </a:r>
            <a:r>
              <a:rPr lang="en-US" noProof="0" dirty="0" err="1"/>
              <a:t>laoreet</a:t>
            </a:r>
            <a:r>
              <a:rPr lang="en-US" noProof="0" dirty="0"/>
              <a:t> per.</a:t>
            </a:r>
          </a:p>
        </p:txBody>
      </p:sp>
    </p:spTree>
    <p:extLst>
      <p:ext uri="{BB962C8B-B14F-4D97-AF65-F5344CB8AC3E}">
        <p14:creationId xmlns:p14="http://schemas.microsoft.com/office/powerpoint/2010/main" val="288325263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9_Two_columns_no_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918" y="294200"/>
            <a:ext cx="10978515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09918" y="1137919"/>
            <a:ext cx="5387605" cy="4954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>
                <a:solidFill>
                  <a:schemeClr val="bg1"/>
                </a:solidFill>
              </a:defRPr>
            </a:lvl1pPr>
            <a:lvl2pPr>
              <a:defRPr lang="en-US" noProof="0" dirty="0" smtClean="0">
                <a:solidFill>
                  <a:schemeClr val="bg1"/>
                </a:solidFill>
              </a:defRPr>
            </a:lvl2pPr>
            <a:lvl3pPr>
              <a:defRPr lang="en-US" noProof="0" dirty="0" smtClean="0">
                <a:solidFill>
                  <a:schemeClr val="bg1"/>
                </a:solidFill>
              </a:defRPr>
            </a:lvl3pPr>
            <a:lvl4pPr>
              <a:defRPr lang="en-US" noProof="0" dirty="0" smtClean="0">
                <a:solidFill>
                  <a:schemeClr val="bg1"/>
                </a:solidFill>
              </a:defRPr>
            </a:lvl4pPr>
          </a:lstStyle>
          <a:p>
            <a:pPr lvl="0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Click to edit Master text styles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00828" y="1137919"/>
            <a:ext cx="5387605" cy="4954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 lang="en-US" noProof="0">
                <a:solidFill>
                  <a:schemeClr val="bg1"/>
                </a:solidFill>
              </a:defRPr>
            </a:lvl1pPr>
            <a:lvl2pPr marL="271463" marR="0" indent="-2714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>
                <a:solidFill>
                  <a:schemeClr val="bg1"/>
                </a:solidFill>
              </a:defRPr>
            </a:lvl2pPr>
            <a:lvl3pPr marL="511175" marR="0" indent="-2333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>
                <a:solidFill>
                  <a:schemeClr val="bg1"/>
                </a:solidFill>
              </a:defRPr>
            </a:lvl3pPr>
            <a:lvl4pPr marL="746125" marR="0" indent="-2317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>
                <a:solidFill>
                  <a:schemeClr val="bg1"/>
                </a:solidFill>
              </a:defRPr>
            </a:lvl4pPr>
            <a:lvl5pPr marL="944563" marR="0" indent="-2016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Click to edit Master text styles</a:t>
            </a:r>
          </a:p>
          <a:p>
            <a:pPr marL="271463" marR="0" lvl="1" indent="-2714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Second level</a:t>
            </a:r>
          </a:p>
          <a:p>
            <a:pPr marL="511175" marR="0" lvl="2" indent="-2333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Third level</a:t>
            </a:r>
          </a:p>
          <a:p>
            <a:pPr marL="746125" marR="0" lvl="3" indent="-2317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Fourth level</a:t>
            </a:r>
          </a:p>
        </p:txBody>
      </p:sp>
      <p:sp>
        <p:nvSpPr>
          <p:cNvPr id="10" name="Line 10">
            <a:extLst>
              <a:ext uri="{FF2B5EF4-FFF2-40B4-BE49-F238E27FC236}">
                <a16:creationId xmlns:a16="http://schemas.microsoft.com/office/drawing/2014/main" id="{9B070B28-7AAC-47E5-9EB5-96B8B8B8805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20B9B26-E95B-4DC1-A613-4C0C0933C7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8B4BAF-3AE0-44AC-9C71-C47D9E4DFFEC}" type="datetime3">
              <a:rPr lang="en-US" noProof="0" smtClean="0"/>
              <a:t>19 September 2023</a:t>
            </a:fld>
            <a:endParaRPr lang="en-US" noProof="0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D7373D8-2AB5-4625-822C-B1F2B5CDC3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76E3B4B-D68B-4AFA-A20D-2ECE69120F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noProof="0" dirty="0"/>
              <a:t>Page </a:t>
            </a:r>
            <a:fld id="{F1BC30E3-FFE5-4B91-AA19-87A149EBB9E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523507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74">
          <p15:clr>
            <a:srgbClr val="FBAE40"/>
          </p15:clr>
        </p15:guide>
        <p15:guide id="2" pos="39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wo_columns_with_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12648" y="1869440"/>
            <a:ext cx="5393208" cy="42233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</a:lstStyle>
          <a:p>
            <a:pPr lvl="0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Click to edit Master text styles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199632" y="1869440"/>
            <a:ext cx="5393208" cy="42233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</a:lstStyle>
          <a:p>
            <a:pPr lvl="0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Click to edit Master text styles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Fourth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609918" y="1137920"/>
            <a:ext cx="5393208" cy="640800"/>
          </a:xfrm>
          <a:prstGeom prst="rect">
            <a:avLst/>
          </a:prstGeo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edit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6199632" y="1137920"/>
            <a:ext cx="5393208" cy="640800"/>
          </a:xfrm>
          <a:prstGeom prst="rect">
            <a:avLst/>
          </a:prstGeo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edi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918" y="294200"/>
            <a:ext cx="10978515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4" name="Line 10">
            <a:extLst>
              <a:ext uri="{FF2B5EF4-FFF2-40B4-BE49-F238E27FC236}">
                <a16:creationId xmlns:a16="http://schemas.microsoft.com/office/drawing/2014/main" id="{9773E7D9-2434-4381-A00D-27B62C08673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09FCCF0-19BC-4024-9BCA-E14DB77EAF2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16510D6D-30BD-4075-B43B-6E2BF2FEC1F8}" type="datetime3">
              <a:rPr lang="en-US" noProof="0" smtClean="0"/>
              <a:t>19 September 2023</a:t>
            </a:fld>
            <a:endParaRPr lang="en-US" noProof="0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2B54F7E-BDC4-4386-B2E2-1FC66609D14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 dirty="0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94FBF9A-EC9A-41E4-A24C-ECB5DC15CCD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 noProof="0" dirty="0"/>
              <a:t>Page </a:t>
            </a:r>
            <a:fld id="{F1BC30E3-FFE5-4B91-AA19-87A149EBB9E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251731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09">
          <p15:clr>
            <a:srgbClr val="FBAE40"/>
          </p15:clr>
        </p15:guide>
        <p15:guide id="2" pos="3774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CF130104-FAF2-4309-9701-573F3774313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0869D6F-A030-48CA-9C7C-9FC3A6F1F6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EB5111-4321-4A8B-8136-0060A1CE4C12}" type="datetime3">
              <a:rPr lang="en-US" noProof="0" smtClean="0"/>
              <a:t>19 September 2023</a:t>
            </a:fld>
            <a:endParaRPr lang="en-US" noProof="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02C3F7-BD0A-4AD4-95D8-328DA6F539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E4422C8-68BE-4650-89F1-3BECCFF9B5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noProof="0" dirty="0"/>
              <a:t>Page </a:t>
            </a:r>
            <a:fld id="{F1BC30E3-FFE5-4B91-AA19-87A149EBB9E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09917" y="1137920"/>
            <a:ext cx="8254800" cy="4946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 lang="en-US" noProof="0" dirty="0" smtClean="0"/>
            </a:lvl1pPr>
            <a:lvl2pPr marL="271463" marR="0" indent="-2714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 dirty="0" smtClean="0"/>
            </a:lvl2pPr>
            <a:lvl3pPr marL="511175" marR="0" indent="-2333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 dirty="0" smtClean="0"/>
            </a:lvl3pPr>
            <a:lvl4pPr marL="746125" marR="0" indent="-2317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 dirty="0" smtClean="0"/>
            </a:lvl4pPr>
            <a:lvl5pPr marL="944563" marR="0" indent="-2016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 dirty="0" smtClean="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Click to edit Master text styles</a:t>
            </a:r>
          </a:p>
          <a:p>
            <a:pPr marL="271463" marR="0" lvl="1" indent="-2714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Second level</a:t>
            </a:r>
          </a:p>
          <a:p>
            <a:pPr marL="511175" marR="0" lvl="2" indent="-2333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Third level</a:t>
            </a:r>
          </a:p>
          <a:p>
            <a:pPr marL="746125" marR="0" lvl="3" indent="-2317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Fourth level</a:t>
            </a:r>
          </a:p>
          <a:p>
            <a:pPr marL="944563" marR="0" lvl="4" indent="-2016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5345761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227180" y="0"/>
            <a:ext cx="5971170" cy="685800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0710" y="2578743"/>
            <a:ext cx="4537959" cy="10557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00"/>
            </a:lvl1pPr>
          </a:lstStyle>
          <a:p>
            <a:pPr lvl="0"/>
            <a:r>
              <a:rPr lang="en-US" noProof="0" dirty="0"/>
              <a:t>Chapter Title</a:t>
            </a:r>
          </a:p>
          <a:p>
            <a:pPr lvl="0"/>
            <a:r>
              <a:rPr lang="en-US" noProof="0" dirty="0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0710" y="3840384"/>
            <a:ext cx="4537959" cy="10557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3EABBDA-A77F-45A2-9996-90CD0EE5C388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A8A1D8A6-A55E-4F4D-ACDB-F9BB16570E5A}" type="datetime3">
              <a:rPr lang="en-US" noProof="0" smtClean="0"/>
              <a:t>19 September 2023</a:t>
            </a:fld>
            <a:endParaRPr lang="en-US" noProof="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F883B36-3BA3-42B4-A811-65C0AF01A86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noProof="0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D9C98C-F30E-45BC-A1D9-67DB57119DC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 noProof="0" dirty="0"/>
              <a:t>Page </a:t>
            </a:r>
            <a:fld id="{F1BC30E3-FFE5-4B91-AA19-87A149EBB9E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837732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1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123303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30">
          <p15:clr>
            <a:srgbClr val="FBAE40"/>
          </p15:clr>
        </p15:guide>
        <p15:guide id="2" pos="553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Blank_with_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897186E-D73E-46D0-965A-D83686BA73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28A72D-CB0C-4AE6-BEB4-2489144EE777}" type="datetime3">
              <a:rPr lang="en-US" noProof="0" smtClean="0"/>
              <a:t>19 September 2023</a:t>
            </a:fld>
            <a:endParaRPr lang="en-US" noProof="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DEF40EA-FE63-4D50-8C90-EC25A860C0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37420B-CF82-4784-8E9C-5C496E27C5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noProof="0" dirty="0"/>
              <a:t>Page </a:t>
            </a:r>
            <a:fld id="{F1BC30E3-FFE5-4B91-AA19-87A149EBB9E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8" name="Picture Placeholder 19">
            <a:extLst>
              <a:ext uri="{FF2B5EF4-FFF2-40B4-BE49-F238E27FC236}">
                <a16:creationId xmlns:a16="http://schemas.microsoft.com/office/drawing/2014/main" id="{00A15EA9-2372-4E06-83C2-1E13AB1FA62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600" y="4207757"/>
            <a:ext cx="648000" cy="6480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70603455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Video_full_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0052CFA6-7CF5-41BD-9D94-2D0DAE108428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2198350" cy="6858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 dirty="0"/>
              <a:t>Video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11B3654-4C35-482F-B580-02C23F975B9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7D5E4DB0-3F0E-4299-A8C0-F6EFC443BC0A}" type="datetime3">
              <a:rPr lang="en-US" noProof="0" smtClean="0"/>
              <a:t>19 September 2023</a:t>
            </a:fld>
            <a:endParaRPr lang="en-US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62EFEC5-10C4-4E79-B06E-F14B8F305F9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CC05763-C066-4818-A1DF-64ED4D64BE2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 noProof="0" dirty="0"/>
              <a:t>Page </a:t>
            </a:r>
            <a:fld id="{F1BC30E3-FFE5-4B91-AA19-87A149EBB9E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9379316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5_Cover_approved_question_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77566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2" imgH="353" progId="TCLayout.ActiveDocument.1">
                  <p:embed/>
                </p:oleObj>
              </mc:Choice>
              <mc:Fallback>
                <p:oleObj name="think-cell Folie" r:id="rId4" imgW="352" imgH="353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2D2DA"/>
          </a:solidFill>
          <a:ln w="12700" cap="sq" cmpd="sng" algn="ctr">
            <a:noFill/>
            <a:prstDash val="solid"/>
            <a:miter lim="800000"/>
            <a:tailEnd type="none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000" b="0" i="0" u="none" strike="noStrike" kern="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grpSp>
        <p:nvGrpSpPr>
          <p:cNvPr id="186" name="Group 185">
            <a:extLst>
              <a:ext uri="{FF2B5EF4-FFF2-40B4-BE49-F238E27FC236}">
                <a16:creationId xmlns:a16="http://schemas.microsoft.com/office/drawing/2014/main" id="{9CDE954B-B280-441B-9B2D-3DC58AAE3926}"/>
              </a:ext>
            </a:extLst>
          </p:cNvPr>
          <p:cNvGrpSpPr/>
          <p:nvPr userDrawn="1"/>
        </p:nvGrpSpPr>
        <p:grpSpPr bwMode="invGray">
          <a:xfrm>
            <a:off x="622940" y="5826612"/>
            <a:ext cx="3878023" cy="570195"/>
            <a:chOff x="498115" y="5951018"/>
            <a:chExt cx="3878023" cy="570195"/>
          </a:xfrm>
        </p:grpSpPr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93D8FAC8-9530-49D4-8284-D35D1B1509D3}"/>
                </a:ext>
              </a:extLst>
            </p:cNvPr>
            <p:cNvSpPr>
              <a:spLocks noChangeArrowheads="1"/>
            </p:cNvSpPr>
            <p:nvPr userDrawn="1"/>
          </p:nvSpPr>
          <p:spPr bwMode="invGray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88" name="Rectangle 6">
              <a:extLst>
                <a:ext uri="{FF2B5EF4-FFF2-40B4-BE49-F238E27FC236}">
                  <a16:creationId xmlns:a16="http://schemas.microsoft.com/office/drawing/2014/main" id="{FD924F44-93C1-4254-B594-53DB14FD995E}"/>
                </a:ext>
              </a:extLst>
            </p:cNvPr>
            <p:cNvSpPr>
              <a:spLocks noChangeArrowheads="1"/>
            </p:cNvSpPr>
            <p:nvPr userDrawn="1"/>
          </p:nvSpPr>
          <p:spPr bwMode="invGray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89" name="Rectangle 7">
              <a:extLst>
                <a:ext uri="{FF2B5EF4-FFF2-40B4-BE49-F238E27FC236}">
                  <a16:creationId xmlns:a16="http://schemas.microsoft.com/office/drawing/2014/main" id="{2A2DA425-7935-45A1-B63F-2D14CF8D5F9C}"/>
                </a:ext>
              </a:extLst>
            </p:cNvPr>
            <p:cNvSpPr>
              <a:spLocks noChangeArrowheads="1"/>
            </p:cNvSpPr>
            <p:nvPr userDrawn="1"/>
          </p:nvSpPr>
          <p:spPr bwMode="invGray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90" name="Freeform 8">
              <a:extLst>
                <a:ext uri="{FF2B5EF4-FFF2-40B4-BE49-F238E27FC236}">
                  <a16:creationId xmlns:a16="http://schemas.microsoft.com/office/drawing/2014/main" id="{91EFF75E-13E7-4E35-B108-D9FD5E9C802C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1" name="Freeform 9">
              <a:extLst>
                <a:ext uri="{FF2B5EF4-FFF2-40B4-BE49-F238E27FC236}">
                  <a16:creationId xmlns:a16="http://schemas.microsoft.com/office/drawing/2014/main" id="{4411951F-E009-4FE7-B2EC-47771CA8E178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2" name="Freeform 10">
              <a:extLst>
                <a:ext uri="{FF2B5EF4-FFF2-40B4-BE49-F238E27FC236}">
                  <a16:creationId xmlns:a16="http://schemas.microsoft.com/office/drawing/2014/main" id="{B28EE49C-5F5A-49C6-AEB8-6D12DDF344ED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3" name="Freeform 11">
              <a:extLst>
                <a:ext uri="{FF2B5EF4-FFF2-40B4-BE49-F238E27FC236}">
                  <a16:creationId xmlns:a16="http://schemas.microsoft.com/office/drawing/2014/main" id="{6E2B7D76-D660-491F-8B04-169C6F138B0A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4" name="Freeform 12">
              <a:extLst>
                <a:ext uri="{FF2B5EF4-FFF2-40B4-BE49-F238E27FC236}">
                  <a16:creationId xmlns:a16="http://schemas.microsoft.com/office/drawing/2014/main" id="{41BE51DE-402B-48B5-99C8-D8BB9A32DF35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5" name="Freeform 13">
              <a:extLst>
                <a:ext uri="{FF2B5EF4-FFF2-40B4-BE49-F238E27FC236}">
                  <a16:creationId xmlns:a16="http://schemas.microsoft.com/office/drawing/2014/main" id="{8D5E878B-8859-44FA-A69D-DCE630AAB0DC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6" name="Freeform 14">
              <a:extLst>
                <a:ext uri="{FF2B5EF4-FFF2-40B4-BE49-F238E27FC236}">
                  <a16:creationId xmlns:a16="http://schemas.microsoft.com/office/drawing/2014/main" id="{08D55808-ECDC-4E9B-84ED-7301E9E716C2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7" name="Freeform 15">
              <a:extLst>
                <a:ext uri="{FF2B5EF4-FFF2-40B4-BE49-F238E27FC236}">
                  <a16:creationId xmlns:a16="http://schemas.microsoft.com/office/drawing/2014/main" id="{3436B310-313E-4A53-A70D-CA0D0D97FE7A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8" name="Freeform 16">
              <a:extLst>
                <a:ext uri="{FF2B5EF4-FFF2-40B4-BE49-F238E27FC236}">
                  <a16:creationId xmlns:a16="http://schemas.microsoft.com/office/drawing/2014/main" id="{F3CE55A9-AE55-4169-A58D-8171D9916EC9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9" name="Freeform 17">
              <a:extLst>
                <a:ext uri="{FF2B5EF4-FFF2-40B4-BE49-F238E27FC236}">
                  <a16:creationId xmlns:a16="http://schemas.microsoft.com/office/drawing/2014/main" id="{FA01BC48-4605-46FC-A7AC-192C7DBCA046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0" name="Freeform 18">
              <a:extLst>
                <a:ext uri="{FF2B5EF4-FFF2-40B4-BE49-F238E27FC236}">
                  <a16:creationId xmlns:a16="http://schemas.microsoft.com/office/drawing/2014/main" id="{870190F3-472B-4296-B88D-D6904B9F3085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1" name="Freeform 19">
              <a:extLst>
                <a:ext uri="{FF2B5EF4-FFF2-40B4-BE49-F238E27FC236}">
                  <a16:creationId xmlns:a16="http://schemas.microsoft.com/office/drawing/2014/main" id="{6CEA0F2B-4AAB-4A16-B7F1-CFCB0C0DCEEE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2" name="Freeform 20">
              <a:extLst>
                <a:ext uri="{FF2B5EF4-FFF2-40B4-BE49-F238E27FC236}">
                  <a16:creationId xmlns:a16="http://schemas.microsoft.com/office/drawing/2014/main" id="{CD64F657-7EE7-4AF2-ADE4-160C87E64D6B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3" name="Freeform 21">
              <a:extLst>
                <a:ext uri="{FF2B5EF4-FFF2-40B4-BE49-F238E27FC236}">
                  <a16:creationId xmlns:a16="http://schemas.microsoft.com/office/drawing/2014/main" id="{FA80A690-9084-4519-8D88-A01963C02369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4" name="Freeform 22">
              <a:extLst>
                <a:ext uri="{FF2B5EF4-FFF2-40B4-BE49-F238E27FC236}">
                  <a16:creationId xmlns:a16="http://schemas.microsoft.com/office/drawing/2014/main" id="{E847401D-2482-482A-AC12-D2E83C13546D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5" name="Freeform 23">
              <a:extLst>
                <a:ext uri="{FF2B5EF4-FFF2-40B4-BE49-F238E27FC236}">
                  <a16:creationId xmlns:a16="http://schemas.microsoft.com/office/drawing/2014/main" id="{86054F72-4509-4465-B9A8-8DAE3EFD35B0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6" name="Freeform 24">
              <a:extLst>
                <a:ext uri="{FF2B5EF4-FFF2-40B4-BE49-F238E27FC236}">
                  <a16:creationId xmlns:a16="http://schemas.microsoft.com/office/drawing/2014/main" id="{813850E4-4B62-4FDA-ABD6-F5A5AA5E7C28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7" name="Freeform 25">
              <a:extLst>
                <a:ext uri="{FF2B5EF4-FFF2-40B4-BE49-F238E27FC236}">
                  <a16:creationId xmlns:a16="http://schemas.microsoft.com/office/drawing/2014/main" id="{1B4F0124-2FAE-4D54-9ECC-E88A8031BBDE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8" name="Freeform 26">
              <a:extLst>
                <a:ext uri="{FF2B5EF4-FFF2-40B4-BE49-F238E27FC236}">
                  <a16:creationId xmlns:a16="http://schemas.microsoft.com/office/drawing/2014/main" id="{2A730E5F-DF9C-488E-B4E0-EE9F501529EE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9" name="Freeform 27">
              <a:extLst>
                <a:ext uri="{FF2B5EF4-FFF2-40B4-BE49-F238E27FC236}">
                  <a16:creationId xmlns:a16="http://schemas.microsoft.com/office/drawing/2014/main" id="{39861D7E-D8DA-436F-9E2F-5C08A8BFB4D5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0" name="Freeform 28">
              <a:extLst>
                <a:ext uri="{FF2B5EF4-FFF2-40B4-BE49-F238E27FC236}">
                  <a16:creationId xmlns:a16="http://schemas.microsoft.com/office/drawing/2014/main" id="{8B038F9F-6A9C-4E57-A659-0090AF470598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1" name="Freeform 29">
              <a:extLst>
                <a:ext uri="{FF2B5EF4-FFF2-40B4-BE49-F238E27FC236}">
                  <a16:creationId xmlns:a16="http://schemas.microsoft.com/office/drawing/2014/main" id="{15E4EB7D-754D-4053-9A23-596C7CFDA987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2" name="Freeform 30">
              <a:extLst>
                <a:ext uri="{FF2B5EF4-FFF2-40B4-BE49-F238E27FC236}">
                  <a16:creationId xmlns:a16="http://schemas.microsoft.com/office/drawing/2014/main" id="{28E147CB-2B8F-497B-B00B-C25E679DC5EB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3" name="Freeform 31">
              <a:extLst>
                <a:ext uri="{FF2B5EF4-FFF2-40B4-BE49-F238E27FC236}">
                  <a16:creationId xmlns:a16="http://schemas.microsoft.com/office/drawing/2014/main" id="{E68BC676-C787-429D-B59B-1A5CE062F78A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4" name="Freeform 32">
              <a:extLst>
                <a:ext uri="{FF2B5EF4-FFF2-40B4-BE49-F238E27FC236}">
                  <a16:creationId xmlns:a16="http://schemas.microsoft.com/office/drawing/2014/main" id="{71266960-73CB-44B9-9A97-810858989148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5" name="Freeform 33">
              <a:extLst>
                <a:ext uri="{FF2B5EF4-FFF2-40B4-BE49-F238E27FC236}">
                  <a16:creationId xmlns:a16="http://schemas.microsoft.com/office/drawing/2014/main" id="{3FF3AC5A-B742-4B29-8E04-03A71D82B9A6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6" name="Freeform 34">
              <a:extLst>
                <a:ext uri="{FF2B5EF4-FFF2-40B4-BE49-F238E27FC236}">
                  <a16:creationId xmlns:a16="http://schemas.microsoft.com/office/drawing/2014/main" id="{0C912743-E24B-4E48-8196-5FBD1ECEE9AD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7" name="Freeform 35">
              <a:extLst>
                <a:ext uri="{FF2B5EF4-FFF2-40B4-BE49-F238E27FC236}">
                  <a16:creationId xmlns:a16="http://schemas.microsoft.com/office/drawing/2014/main" id="{6E2F01F4-1410-4FE1-B043-EA97A1541F32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8" name="Freeform 36">
              <a:extLst>
                <a:ext uri="{FF2B5EF4-FFF2-40B4-BE49-F238E27FC236}">
                  <a16:creationId xmlns:a16="http://schemas.microsoft.com/office/drawing/2014/main" id="{58ACFF1C-49F0-414E-B9E3-DE4E9FFAA38A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9" name="Freeform 37">
              <a:extLst>
                <a:ext uri="{FF2B5EF4-FFF2-40B4-BE49-F238E27FC236}">
                  <a16:creationId xmlns:a16="http://schemas.microsoft.com/office/drawing/2014/main" id="{DACBD04B-22FF-4A4F-8B29-A2F31A05423A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0" name="Freeform 38">
              <a:extLst>
                <a:ext uri="{FF2B5EF4-FFF2-40B4-BE49-F238E27FC236}">
                  <a16:creationId xmlns:a16="http://schemas.microsoft.com/office/drawing/2014/main" id="{A13F6E37-C22B-4FD3-ADFE-9C53ECB44692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1" name="Freeform 39">
              <a:extLst>
                <a:ext uri="{FF2B5EF4-FFF2-40B4-BE49-F238E27FC236}">
                  <a16:creationId xmlns:a16="http://schemas.microsoft.com/office/drawing/2014/main" id="{76256F1D-405A-49F9-8592-A899623F2DB0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2" name="Freeform 40">
              <a:extLst>
                <a:ext uri="{FF2B5EF4-FFF2-40B4-BE49-F238E27FC236}">
                  <a16:creationId xmlns:a16="http://schemas.microsoft.com/office/drawing/2014/main" id="{2F9CAE14-DB05-4B70-867F-3F6164BDB74F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3" name="Freeform 41">
              <a:extLst>
                <a:ext uri="{FF2B5EF4-FFF2-40B4-BE49-F238E27FC236}">
                  <a16:creationId xmlns:a16="http://schemas.microsoft.com/office/drawing/2014/main" id="{30C7B10F-7027-41F9-BEE2-F1575CB690D6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4" name="Freeform 42">
              <a:extLst>
                <a:ext uri="{FF2B5EF4-FFF2-40B4-BE49-F238E27FC236}">
                  <a16:creationId xmlns:a16="http://schemas.microsoft.com/office/drawing/2014/main" id="{16B384B2-A2D9-4CB4-AF87-AF1004852B5B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5" name="Freeform 43">
              <a:extLst>
                <a:ext uri="{FF2B5EF4-FFF2-40B4-BE49-F238E27FC236}">
                  <a16:creationId xmlns:a16="http://schemas.microsoft.com/office/drawing/2014/main" id="{DC309D60-84B9-4652-BEF1-F71EFAD3A402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6" name="Freeform 44">
              <a:extLst>
                <a:ext uri="{FF2B5EF4-FFF2-40B4-BE49-F238E27FC236}">
                  <a16:creationId xmlns:a16="http://schemas.microsoft.com/office/drawing/2014/main" id="{A4440044-5486-483F-B652-7EE3849461B3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7" name="Freeform 45">
              <a:extLst>
                <a:ext uri="{FF2B5EF4-FFF2-40B4-BE49-F238E27FC236}">
                  <a16:creationId xmlns:a16="http://schemas.microsoft.com/office/drawing/2014/main" id="{446771E9-EA09-4256-8955-FE392C07AFC4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8" name="Freeform 46">
              <a:extLst>
                <a:ext uri="{FF2B5EF4-FFF2-40B4-BE49-F238E27FC236}">
                  <a16:creationId xmlns:a16="http://schemas.microsoft.com/office/drawing/2014/main" id="{FE985025-CAA5-44F2-9174-87CD1D8BA182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9" name="Freeform 47">
              <a:extLst>
                <a:ext uri="{FF2B5EF4-FFF2-40B4-BE49-F238E27FC236}">
                  <a16:creationId xmlns:a16="http://schemas.microsoft.com/office/drawing/2014/main" id="{1105FBBE-AD06-4F22-94D8-E2E98185FAA9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30" name="Freeform 48">
              <a:extLst>
                <a:ext uri="{FF2B5EF4-FFF2-40B4-BE49-F238E27FC236}">
                  <a16:creationId xmlns:a16="http://schemas.microsoft.com/office/drawing/2014/main" id="{8141824A-6AD4-4B53-B837-71461DD538CC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31" name="Freeform 49">
              <a:extLst>
                <a:ext uri="{FF2B5EF4-FFF2-40B4-BE49-F238E27FC236}">
                  <a16:creationId xmlns:a16="http://schemas.microsoft.com/office/drawing/2014/main" id="{1CEF1D95-CD6C-417A-9539-CB4DBAA5E07D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32" name="Freeform 50">
              <a:extLst>
                <a:ext uri="{FF2B5EF4-FFF2-40B4-BE49-F238E27FC236}">
                  <a16:creationId xmlns:a16="http://schemas.microsoft.com/office/drawing/2014/main" id="{BF6CB5D3-9648-4D73-AB7C-5374814E5BA2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33" name="Freeform 51">
              <a:extLst>
                <a:ext uri="{FF2B5EF4-FFF2-40B4-BE49-F238E27FC236}">
                  <a16:creationId xmlns:a16="http://schemas.microsoft.com/office/drawing/2014/main" id="{55F0E322-3AEE-482E-8E59-9FB04FACA931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34" name="Freeform 52">
              <a:extLst>
                <a:ext uri="{FF2B5EF4-FFF2-40B4-BE49-F238E27FC236}">
                  <a16:creationId xmlns:a16="http://schemas.microsoft.com/office/drawing/2014/main" id="{0D3C59AD-7CCF-4166-9D21-3C3484889312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35" name="Freeform 53">
              <a:extLst>
                <a:ext uri="{FF2B5EF4-FFF2-40B4-BE49-F238E27FC236}">
                  <a16:creationId xmlns:a16="http://schemas.microsoft.com/office/drawing/2014/main" id="{9C9DA4CE-7B4D-42AE-9264-92B7D7757DD8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36" name="Freeform 54">
              <a:extLst>
                <a:ext uri="{FF2B5EF4-FFF2-40B4-BE49-F238E27FC236}">
                  <a16:creationId xmlns:a16="http://schemas.microsoft.com/office/drawing/2014/main" id="{DBCBD0D2-5C9C-4B12-8CF8-9CA320825ED7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37" name="Freeform 55">
              <a:extLst>
                <a:ext uri="{FF2B5EF4-FFF2-40B4-BE49-F238E27FC236}">
                  <a16:creationId xmlns:a16="http://schemas.microsoft.com/office/drawing/2014/main" id="{CDCFBD31-7961-4587-876E-1FAFC4E74AB8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38" name="Freeform 56">
              <a:extLst>
                <a:ext uri="{FF2B5EF4-FFF2-40B4-BE49-F238E27FC236}">
                  <a16:creationId xmlns:a16="http://schemas.microsoft.com/office/drawing/2014/main" id="{52482C08-723A-4738-9787-3516B3C17145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39" name="Freeform 57">
              <a:extLst>
                <a:ext uri="{FF2B5EF4-FFF2-40B4-BE49-F238E27FC236}">
                  <a16:creationId xmlns:a16="http://schemas.microsoft.com/office/drawing/2014/main" id="{5B72A8F0-33E3-42CD-88C2-C35BEC0E9833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40" name="Freeform 58">
              <a:extLst>
                <a:ext uri="{FF2B5EF4-FFF2-40B4-BE49-F238E27FC236}">
                  <a16:creationId xmlns:a16="http://schemas.microsoft.com/office/drawing/2014/main" id="{73FC54A2-6588-499B-968A-79F4CA9CF5F3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41" name="Freeform 59">
              <a:extLst>
                <a:ext uri="{FF2B5EF4-FFF2-40B4-BE49-F238E27FC236}">
                  <a16:creationId xmlns:a16="http://schemas.microsoft.com/office/drawing/2014/main" id="{1E6AB002-C130-4648-A18E-BA496FF1756C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42" name="Freeform 60">
              <a:extLst>
                <a:ext uri="{FF2B5EF4-FFF2-40B4-BE49-F238E27FC236}">
                  <a16:creationId xmlns:a16="http://schemas.microsoft.com/office/drawing/2014/main" id="{B0044278-9F7F-4596-96D2-ACFBE0DEC0B1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43" name="Freeform 61">
              <a:extLst>
                <a:ext uri="{FF2B5EF4-FFF2-40B4-BE49-F238E27FC236}">
                  <a16:creationId xmlns:a16="http://schemas.microsoft.com/office/drawing/2014/main" id="{79F75E0D-27A7-44C1-BF19-495F4768F995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44" name="Freeform 62">
              <a:extLst>
                <a:ext uri="{FF2B5EF4-FFF2-40B4-BE49-F238E27FC236}">
                  <a16:creationId xmlns:a16="http://schemas.microsoft.com/office/drawing/2014/main" id="{E5B9E395-C74C-4D98-8911-EE2C765D8BEB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45" name="Freeform 63">
              <a:extLst>
                <a:ext uri="{FF2B5EF4-FFF2-40B4-BE49-F238E27FC236}">
                  <a16:creationId xmlns:a16="http://schemas.microsoft.com/office/drawing/2014/main" id="{53BB8418-388C-4142-9A80-8BF00A87F7B0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46" name="Freeform 64">
              <a:extLst>
                <a:ext uri="{FF2B5EF4-FFF2-40B4-BE49-F238E27FC236}">
                  <a16:creationId xmlns:a16="http://schemas.microsoft.com/office/drawing/2014/main" id="{0256DB41-B3C1-4FEB-B394-9762C00E7F70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47" name="Freeform 65">
              <a:extLst>
                <a:ext uri="{FF2B5EF4-FFF2-40B4-BE49-F238E27FC236}">
                  <a16:creationId xmlns:a16="http://schemas.microsoft.com/office/drawing/2014/main" id="{F2BC9C1F-3F30-47A6-B503-20FB179B7F3A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48" name="Freeform 66">
              <a:extLst>
                <a:ext uri="{FF2B5EF4-FFF2-40B4-BE49-F238E27FC236}">
                  <a16:creationId xmlns:a16="http://schemas.microsoft.com/office/drawing/2014/main" id="{F2E1921C-CA0E-4886-93CA-956A6497CF03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49" name="Freeform 67">
              <a:extLst>
                <a:ext uri="{FF2B5EF4-FFF2-40B4-BE49-F238E27FC236}">
                  <a16:creationId xmlns:a16="http://schemas.microsoft.com/office/drawing/2014/main" id="{33147323-CD74-4B45-8B3D-9FC2D6ABC4D5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50" name="Freeform 68">
              <a:extLst>
                <a:ext uri="{FF2B5EF4-FFF2-40B4-BE49-F238E27FC236}">
                  <a16:creationId xmlns:a16="http://schemas.microsoft.com/office/drawing/2014/main" id="{646502BE-8655-4E99-B8D3-19E6C1D2B9F4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51" name="Freeform 69">
              <a:extLst>
                <a:ext uri="{FF2B5EF4-FFF2-40B4-BE49-F238E27FC236}">
                  <a16:creationId xmlns:a16="http://schemas.microsoft.com/office/drawing/2014/main" id="{7B89F1B5-6B06-45D2-838B-039A44EFFD1B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52" name="Freeform 70">
              <a:extLst>
                <a:ext uri="{FF2B5EF4-FFF2-40B4-BE49-F238E27FC236}">
                  <a16:creationId xmlns:a16="http://schemas.microsoft.com/office/drawing/2014/main" id="{07A005EC-C937-4146-8D02-C00C5931EBCD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  <p:sp>
        <p:nvSpPr>
          <p:cNvPr id="263" name="Title 1">
            <a:extLst>
              <a:ext uri="{FF2B5EF4-FFF2-40B4-BE49-F238E27FC236}">
                <a16:creationId xmlns:a16="http://schemas.microsoft.com/office/drawing/2014/main" id="{3F36D6CC-3534-47CC-AECE-83EDA4639FB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69705" y="2158329"/>
            <a:ext cx="4020820" cy="860400"/>
          </a:xfrm>
          <a:prstGeom prst="rect">
            <a:avLst/>
          </a:prstGeo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264" name="Subtitle 2">
            <a:extLst>
              <a:ext uri="{FF2B5EF4-FFF2-40B4-BE49-F238E27FC236}">
                <a16:creationId xmlns:a16="http://schemas.microsoft.com/office/drawing/2014/main" id="{C26FB38E-4E99-4AFB-8C8C-F03F7A963D9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69897" y="3200329"/>
            <a:ext cx="4020628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AE95BC52-A56D-4358-A294-750179EBB698}"/>
              </a:ext>
            </a:extLst>
          </p:cNvPr>
          <p:cNvGrpSpPr/>
          <p:nvPr userDrawn="1"/>
        </p:nvGrpSpPr>
        <p:grpSpPr>
          <a:xfrm>
            <a:off x="614191" y="876058"/>
            <a:ext cx="4855295" cy="3374475"/>
            <a:chOff x="6855933" y="899048"/>
            <a:chExt cx="4855295" cy="3374475"/>
          </a:xfrm>
          <a:solidFill>
            <a:schemeClr val="tx2"/>
          </a:solidFill>
        </p:grpSpPr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ECBD2AD5-9A79-4CFE-A808-769ADC8898F3}"/>
                </a:ext>
              </a:extLst>
            </p:cNvPr>
            <p:cNvSpPr/>
            <p:nvPr/>
          </p:nvSpPr>
          <p:spPr>
            <a:xfrm>
              <a:off x="6855933" y="899048"/>
              <a:ext cx="4855295" cy="3374475"/>
            </a:xfrm>
            <a:custGeom>
              <a:avLst/>
              <a:gdLst>
                <a:gd name="connsiteX0" fmla="*/ 6731 w 4855294"/>
                <a:gd name="connsiteY0" fmla="*/ 863542 h 3374474"/>
                <a:gd name="connsiteX1" fmla="*/ 6731 w 4855294"/>
                <a:gd name="connsiteY1" fmla="*/ 3095901 h 3374474"/>
                <a:gd name="connsiteX2" fmla="*/ 145659 w 4855294"/>
                <a:gd name="connsiteY2" fmla="*/ 3095901 h 3374474"/>
                <a:gd name="connsiteX3" fmla="*/ 145659 w 4855294"/>
                <a:gd name="connsiteY3" fmla="*/ 988380 h 3374474"/>
                <a:gd name="connsiteX4" fmla="*/ 4715918 w 4855294"/>
                <a:gd name="connsiteY4" fmla="*/ 179673 h 3374474"/>
                <a:gd name="connsiteX5" fmla="*/ 4715918 w 4855294"/>
                <a:gd name="connsiteY5" fmla="*/ 3234829 h 3374474"/>
                <a:gd name="connsiteX6" fmla="*/ 840208 w 4855294"/>
                <a:gd name="connsiteY6" fmla="*/ 3234829 h 3374474"/>
                <a:gd name="connsiteX7" fmla="*/ 840208 w 4855294"/>
                <a:gd name="connsiteY7" fmla="*/ 3373757 h 3374474"/>
                <a:gd name="connsiteX8" fmla="*/ 4854846 w 4855294"/>
                <a:gd name="connsiteY8" fmla="*/ 3373757 h 3374474"/>
                <a:gd name="connsiteX9" fmla="*/ 4854846 w 4855294"/>
                <a:gd name="connsiteY9" fmla="*/ 6731 h 3374474"/>
                <a:gd name="connsiteX10" fmla="*/ 6731 w 4855294"/>
                <a:gd name="connsiteY10" fmla="*/ 863542 h 3374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855294" h="3374474">
                  <a:moveTo>
                    <a:pt x="6731" y="863542"/>
                  </a:moveTo>
                  <a:lnTo>
                    <a:pt x="6731" y="3095901"/>
                  </a:lnTo>
                  <a:lnTo>
                    <a:pt x="145659" y="3095901"/>
                  </a:lnTo>
                  <a:lnTo>
                    <a:pt x="145659" y="988380"/>
                  </a:lnTo>
                  <a:lnTo>
                    <a:pt x="4715918" y="179673"/>
                  </a:lnTo>
                  <a:lnTo>
                    <a:pt x="4715918" y="3234829"/>
                  </a:lnTo>
                  <a:lnTo>
                    <a:pt x="840208" y="3234829"/>
                  </a:lnTo>
                  <a:lnTo>
                    <a:pt x="840208" y="3373757"/>
                  </a:lnTo>
                  <a:lnTo>
                    <a:pt x="4854846" y="3373757"/>
                  </a:lnTo>
                  <a:lnTo>
                    <a:pt x="4854846" y="6731"/>
                  </a:lnTo>
                  <a:lnTo>
                    <a:pt x="6731" y="86354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noProof="0" dirty="0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9EE673CB-A779-4F64-B72D-93428DD2B26D}"/>
                </a:ext>
              </a:extLst>
            </p:cNvPr>
            <p:cNvSpPr/>
            <p:nvPr/>
          </p:nvSpPr>
          <p:spPr>
            <a:xfrm>
              <a:off x="6855933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noProof="0" dirty="0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88144C98-507D-403B-8819-FBBF64A82FA3}"/>
                </a:ext>
              </a:extLst>
            </p:cNvPr>
            <p:cNvSpPr/>
            <p:nvPr/>
          </p:nvSpPr>
          <p:spPr>
            <a:xfrm>
              <a:off x="7133789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noProof="0" dirty="0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21919CB3-2430-4DA6-BF41-59A1EF9C03CB}"/>
                </a:ext>
              </a:extLst>
            </p:cNvPr>
            <p:cNvSpPr/>
            <p:nvPr/>
          </p:nvSpPr>
          <p:spPr>
            <a:xfrm>
              <a:off x="7411555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noProof="0" dirty="0"/>
            </a:p>
          </p:txBody>
        </p:sp>
      </p:grpSp>
      <p:grpSp>
        <p:nvGrpSpPr>
          <p:cNvPr id="82" name="Group 4">
            <a:extLst>
              <a:ext uri="{FF2B5EF4-FFF2-40B4-BE49-F238E27FC236}">
                <a16:creationId xmlns:a16="http://schemas.microsoft.com/office/drawing/2014/main" id="{C5FADEE5-07C4-41A9-88D6-C6D2ED1362B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83" name="Freeform 5">
              <a:extLst>
                <a:ext uri="{FF2B5EF4-FFF2-40B4-BE49-F238E27FC236}">
                  <a16:creationId xmlns:a16="http://schemas.microsoft.com/office/drawing/2014/main" id="{5A2C465B-7D43-431D-A35E-50762E7696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84" name="Freeform 6">
              <a:extLst>
                <a:ext uri="{FF2B5EF4-FFF2-40B4-BE49-F238E27FC236}">
                  <a16:creationId xmlns:a16="http://schemas.microsoft.com/office/drawing/2014/main" id="{AC35E6C1-71A8-4C9D-A1A5-682B0BD0A03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</p:grpSp>
      <p:sp>
        <p:nvSpPr>
          <p:cNvPr id="85" name="Rectangle 9">
            <a:extLst>
              <a:ext uri="{FF2B5EF4-FFF2-40B4-BE49-F238E27FC236}">
                <a16:creationId xmlns:a16="http://schemas.microsoft.com/office/drawing/2014/main" id="{F314F876-941A-40CD-B64C-56E5901EC54D}"/>
              </a:ext>
            </a:extLst>
          </p:cNvPr>
          <p:cNvSpPr/>
          <p:nvPr userDrawn="1"/>
        </p:nvSpPr>
        <p:spPr>
          <a:xfrm>
            <a:off x="-2054226" y="-8465"/>
            <a:ext cx="1952299" cy="2446866"/>
          </a:xfrm>
          <a:prstGeom prst="rect">
            <a:avLst/>
          </a:pr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3972" tIns="53972" rIns="53972" bIns="53972" rtlCol="0" anchor="t" anchorCtr="0"/>
          <a:lstStyle/>
          <a:p>
            <a:pPr>
              <a:spcAft>
                <a:spcPts val="0"/>
              </a:spcAft>
            </a:pPr>
            <a:r>
              <a:rPr lang="en-US" sz="1200" b="1" dirty="0">
                <a:solidFill>
                  <a:srgbClr val="000000"/>
                </a:solidFill>
                <a:latin typeface="EYInterstate Light" panose="02000506000000020004" pitchFamily="2" charset="0"/>
              </a:rPr>
              <a:t>INSTRUCTIONS:</a:t>
            </a:r>
            <a:br>
              <a:rPr lang="en-US" sz="1200" b="1" dirty="0">
                <a:solidFill>
                  <a:srgbClr val="000000"/>
                </a:solidFill>
                <a:latin typeface="EYInterstate Light" panose="02000506000000020004" pitchFamily="2" charset="0"/>
              </a:rPr>
            </a:br>
            <a:r>
              <a:rPr lang="en-US" sz="1200" dirty="0">
                <a:solidFill>
                  <a:srgbClr val="000000"/>
                </a:solidFill>
              </a:rPr>
              <a:t>In order to use this frame cover template, </a:t>
            </a:r>
            <a:br>
              <a:rPr lang="en-US" sz="1200" dirty="0">
                <a:solidFill>
                  <a:srgbClr val="000000"/>
                </a:solidFill>
              </a:rPr>
            </a:br>
            <a:r>
              <a:rPr lang="en-US" sz="1200" dirty="0">
                <a:solidFill>
                  <a:srgbClr val="000000"/>
                </a:solidFill>
              </a:rPr>
              <a:t>an approved EY better question is required. See </a:t>
            </a:r>
            <a:r>
              <a:rPr lang="en-US" sz="1200" u="sng" dirty="0">
                <a:solidFill>
                  <a:srgbClr val="0563C1"/>
                </a:solidFill>
                <a:ea typeface="Calibri" panose="020F0502020204030204" pitchFamily="34" charset="0"/>
                <a:hlinkClick r:id="rId6"/>
              </a:rPr>
              <a:t>http://brandingzone.ey.net/national/bzcontest.nsf/controldocview/BetterQuestions/$file/fullpage.html#firstPage</a:t>
            </a:r>
            <a:r>
              <a:rPr lang="en-US" sz="1200" dirty="0">
                <a:ea typeface="Calibri" panose="020F0502020204030204" pitchFamily="34" charset="0"/>
              </a:rPr>
              <a:t> </a:t>
            </a:r>
            <a:r>
              <a:rPr lang="en-US" sz="1200" dirty="0">
                <a:solidFill>
                  <a:srgbClr val="000000"/>
                </a:solidFill>
              </a:rPr>
              <a:t>for information on how to formulate better questions.</a:t>
            </a:r>
            <a:endParaRPr lang="de-DE" sz="1200" dirty="0">
              <a:solidFill>
                <a:srgbClr val="000000"/>
              </a:solidFill>
            </a:endParaRPr>
          </a:p>
        </p:txBody>
      </p:sp>
      <p:pic>
        <p:nvPicPr>
          <p:cNvPr id="156" name="Grafik 155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01887" y="440057"/>
            <a:ext cx="1880290" cy="96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30692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">
          <p15:clr>
            <a:srgbClr val="FBAE40"/>
          </p15:clr>
        </p15:guide>
        <p15:guide id="2" orient="horz" pos="1350">
          <p15:clr>
            <a:srgbClr val="FBAE40"/>
          </p15:clr>
        </p15:guide>
        <p15:guide id="3" orient="horz" pos="2014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5_Cover_approved_question_tall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83926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2" imgH="353" progId="TCLayout.ActiveDocument.1">
                  <p:embed/>
                </p:oleObj>
              </mc:Choice>
              <mc:Fallback>
                <p:oleObj name="think-cell Folie" r:id="rId4" imgW="352" imgH="353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2D2DA"/>
          </a:solidFill>
          <a:ln w="12700" cap="sq" cmpd="sng" algn="ctr">
            <a:noFill/>
            <a:prstDash val="solid"/>
            <a:miter lim="800000"/>
            <a:tailEnd type="none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000" b="0" i="0" u="none" strike="noStrike" kern="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pic>
        <p:nvPicPr>
          <p:cNvPr id="85" name="Picture 74">
            <a:extLst>
              <a:ext uri="{FF2B5EF4-FFF2-40B4-BE49-F238E27FC236}">
                <a16:creationId xmlns:a16="http://schemas.microsoft.com/office/drawing/2014/main" id="{32889845-07EE-48FB-A972-F8ECF1EF871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8350" cy="6858000"/>
          </a:xfrm>
          <a:prstGeom prst="rect">
            <a:avLst/>
          </a:prstGeom>
        </p:spPr>
      </p:pic>
      <p:grpSp>
        <p:nvGrpSpPr>
          <p:cNvPr id="186" name="Group 185">
            <a:extLst>
              <a:ext uri="{FF2B5EF4-FFF2-40B4-BE49-F238E27FC236}">
                <a16:creationId xmlns:a16="http://schemas.microsoft.com/office/drawing/2014/main" id="{9CDE954B-B280-441B-9B2D-3DC58AAE3926}"/>
              </a:ext>
            </a:extLst>
          </p:cNvPr>
          <p:cNvGrpSpPr/>
          <p:nvPr userDrawn="1"/>
        </p:nvGrpSpPr>
        <p:grpSpPr>
          <a:xfrm>
            <a:off x="622940" y="5826612"/>
            <a:ext cx="3878023" cy="570195"/>
            <a:chOff x="498115" y="5951018"/>
            <a:chExt cx="3878023" cy="570195"/>
          </a:xfrm>
          <a:solidFill>
            <a:srgbClr val="FFFFFF"/>
          </a:solidFill>
        </p:grpSpPr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93D8FAC8-9530-49D4-8284-D35D1B1509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88" name="Rectangle 6">
              <a:extLst>
                <a:ext uri="{FF2B5EF4-FFF2-40B4-BE49-F238E27FC236}">
                  <a16:creationId xmlns:a16="http://schemas.microsoft.com/office/drawing/2014/main" id="{FD924F44-93C1-4254-B594-53DB14FD99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89" name="Rectangle 7">
              <a:extLst>
                <a:ext uri="{FF2B5EF4-FFF2-40B4-BE49-F238E27FC236}">
                  <a16:creationId xmlns:a16="http://schemas.microsoft.com/office/drawing/2014/main" id="{2A2DA425-7935-45A1-B63F-2D14CF8D5F9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90" name="Freeform 8">
              <a:extLst>
                <a:ext uri="{FF2B5EF4-FFF2-40B4-BE49-F238E27FC236}">
                  <a16:creationId xmlns:a16="http://schemas.microsoft.com/office/drawing/2014/main" id="{91EFF75E-13E7-4E35-B108-D9FD5E9C80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1" name="Freeform 9">
              <a:extLst>
                <a:ext uri="{FF2B5EF4-FFF2-40B4-BE49-F238E27FC236}">
                  <a16:creationId xmlns:a16="http://schemas.microsoft.com/office/drawing/2014/main" id="{4411951F-E009-4FE7-B2EC-47771CA8E1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2" name="Freeform 10">
              <a:extLst>
                <a:ext uri="{FF2B5EF4-FFF2-40B4-BE49-F238E27FC236}">
                  <a16:creationId xmlns:a16="http://schemas.microsoft.com/office/drawing/2014/main" id="{B28EE49C-5F5A-49C6-AEB8-6D12DDF344E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3" name="Freeform 11">
              <a:extLst>
                <a:ext uri="{FF2B5EF4-FFF2-40B4-BE49-F238E27FC236}">
                  <a16:creationId xmlns:a16="http://schemas.microsoft.com/office/drawing/2014/main" id="{6E2B7D76-D660-491F-8B04-169C6F138B0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4" name="Freeform 12">
              <a:extLst>
                <a:ext uri="{FF2B5EF4-FFF2-40B4-BE49-F238E27FC236}">
                  <a16:creationId xmlns:a16="http://schemas.microsoft.com/office/drawing/2014/main" id="{41BE51DE-402B-48B5-99C8-D8BB9A32DF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5" name="Freeform 13">
              <a:extLst>
                <a:ext uri="{FF2B5EF4-FFF2-40B4-BE49-F238E27FC236}">
                  <a16:creationId xmlns:a16="http://schemas.microsoft.com/office/drawing/2014/main" id="{8D5E878B-8859-44FA-A69D-DCE630AAB0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6" name="Freeform 14">
              <a:extLst>
                <a:ext uri="{FF2B5EF4-FFF2-40B4-BE49-F238E27FC236}">
                  <a16:creationId xmlns:a16="http://schemas.microsoft.com/office/drawing/2014/main" id="{08D55808-ECDC-4E9B-84ED-7301E9E716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7" name="Freeform 15">
              <a:extLst>
                <a:ext uri="{FF2B5EF4-FFF2-40B4-BE49-F238E27FC236}">
                  <a16:creationId xmlns:a16="http://schemas.microsoft.com/office/drawing/2014/main" id="{3436B310-313E-4A53-A70D-CA0D0D97FE7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8" name="Freeform 16">
              <a:extLst>
                <a:ext uri="{FF2B5EF4-FFF2-40B4-BE49-F238E27FC236}">
                  <a16:creationId xmlns:a16="http://schemas.microsoft.com/office/drawing/2014/main" id="{F3CE55A9-AE55-4169-A58D-8171D9916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9" name="Freeform 17">
              <a:extLst>
                <a:ext uri="{FF2B5EF4-FFF2-40B4-BE49-F238E27FC236}">
                  <a16:creationId xmlns:a16="http://schemas.microsoft.com/office/drawing/2014/main" id="{FA01BC48-4605-46FC-A7AC-192C7DBCA0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0" name="Freeform 18">
              <a:extLst>
                <a:ext uri="{FF2B5EF4-FFF2-40B4-BE49-F238E27FC236}">
                  <a16:creationId xmlns:a16="http://schemas.microsoft.com/office/drawing/2014/main" id="{870190F3-472B-4296-B88D-D6904B9F3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1" name="Freeform 19">
              <a:extLst>
                <a:ext uri="{FF2B5EF4-FFF2-40B4-BE49-F238E27FC236}">
                  <a16:creationId xmlns:a16="http://schemas.microsoft.com/office/drawing/2014/main" id="{6CEA0F2B-4AAB-4A16-B7F1-CFCB0C0DCE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2" name="Freeform 20">
              <a:extLst>
                <a:ext uri="{FF2B5EF4-FFF2-40B4-BE49-F238E27FC236}">
                  <a16:creationId xmlns:a16="http://schemas.microsoft.com/office/drawing/2014/main" id="{CD64F657-7EE7-4AF2-ADE4-160C87E64D6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3" name="Freeform 21">
              <a:extLst>
                <a:ext uri="{FF2B5EF4-FFF2-40B4-BE49-F238E27FC236}">
                  <a16:creationId xmlns:a16="http://schemas.microsoft.com/office/drawing/2014/main" id="{FA80A690-9084-4519-8D88-A01963C023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4" name="Freeform 22">
              <a:extLst>
                <a:ext uri="{FF2B5EF4-FFF2-40B4-BE49-F238E27FC236}">
                  <a16:creationId xmlns:a16="http://schemas.microsoft.com/office/drawing/2014/main" id="{E847401D-2482-482A-AC12-D2E83C13546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5" name="Freeform 23">
              <a:extLst>
                <a:ext uri="{FF2B5EF4-FFF2-40B4-BE49-F238E27FC236}">
                  <a16:creationId xmlns:a16="http://schemas.microsoft.com/office/drawing/2014/main" id="{86054F72-4509-4465-B9A8-8DAE3EFD35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6" name="Freeform 24">
              <a:extLst>
                <a:ext uri="{FF2B5EF4-FFF2-40B4-BE49-F238E27FC236}">
                  <a16:creationId xmlns:a16="http://schemas.microsoft.com/office/drawing/2014/main" id="{813850E4-4B62-4FDA-ABD6-F5A5AA5E7C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7" name="Freeform 25">
              <a:extLst>
                <a:ext uri="{FF2B5EF4-FFF2-40B4-BE49-F238E27FC236}">
                  <a16:creationId xmlns:a16="http://schemas.microsoft.com/office/drawing/2014/main" id="{1B4F0124-2FAE-4D54-9ECC-E88A8031BB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8" name="Freeform 26">
              <a:extLst>
                <a:ext uri="{FF2B5EF4-FFF2-40B4-BE49-F238E27FC236}">
                  <a16:creationId xmlns:a16="http://schemas.microsoft.com/office/drawing/2014/main" id="{2A730E5F-DF9C-488E-B4E0-EE9F501529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9" name="Freeform 27">
              <a:extLst>
                <a:ext uri="{FF2B5EF4-FFF2-40B4-BE49-F238E27FC236}">
                  <a16:creationId xmlns:a16="http://schemas.microsoft.com/office/drawing/2014/main" id="{39861D7E-D8DA-436F-9E2F-5C08A8BFB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0" name="Freeform 28">
              <a:extLst>
                <a:ext uri="{FF2B5EF4-FFF2-40B4-BE49-F238E27FC236}">
                  <a16:creationId xmlns:a16="http://schemas.microsoft.com/office/drawing/2014/main" id="{8B038F9F-6A9C-4E57-A659-0090AF4705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1" name="Freeform 29">
              <a:extLst>
                <a:ext uri="{FF2B5EF4-FFF2-40B4-BE49-F238E27FC236}">
                  <a16:creationId xmlns:a16="http://schemas.microsoft.com/office/drawing/2014/main" id="{15E4EB7D-754D-4053-9A23-596C7CFDA9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2" name="Freeform 30">
              <a:extLst>
                <a:ext uri="{FF2B5EF4-FFF2-40B4-BE49-F238E27FC236}">
                  <a16:creationId xmlns:a16="http://schemas.microsoft.com/office/drawing/2014/main" id="{28E147CB-2B8F-497B-B00B-C25E679DC5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3" name="Freeform 31">
              <a:extLst>
                <a:ext uri="{FF2B5EF4-FFF2-40B4-BE49-F238E27FC236}">
                  <a16:creationId xmlns:a16="http://schemas.microsoft.com/office/drawing/2014/main" id="{E68BC676-C787-429D-B59B-1A5CE062F7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4" name="Freeform 32">
              <a:extLst>
                <a:ext uri="{FF2B5EF4-FFF2-40B4-BE49-F238E27FC236}">
                  <a16:creationId xmlns:a16="http://schemas.microsoft.com/office/drawing/2014/main" id="{71266960-73CB-44B9-9A97-8108589891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5" name="Freeform 33">
              <a:extLst>
                <a:ext uri="{FF2B5EF4-FFF2-40B4-BE49-F238E27FC236}">
                  <a16:creationId xmlns:a16="http://schemas.microsoft.com/office/drawing/2014/main" id="{3FF3AC5A-B742-4B29-8E04-03A71D82B9A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6" name="Freeform 34">
              <a:extLst>
                <a:ext uri="{FF2B5EF4-FFF2-40B4-BE49-F238E27FC236}">
                  <a16:creationId xmlns:a16="http://schemas.microsoft.com/office/drawing/2014/main" id="{0C912743-E24B-4E48-8196-5FBD1ECEE9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7" name="Freeform 35">
              <a:extLst>
                <a:ext uri="{FF2B5EF4-FFF2-40B4-BE49-F238E27FC236}">
                  <a16:creationId xmlns:a16="http://schemas.microsoft.com/office/drawing/2014/main" id="{6E2F01F4-1410-4FE1-B043-EA97A1541F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8" name="Freeform 36">
              <a:extLst>
                <a:ext uri="{FF2B5EF4-FFF2-40B4-BE49-F238E27FC236}">
                  <a16:creationId xmlns:a16="http://schemas.microsoft.com/office/drawing/2014/main" id="{58ACFF1C-49F0-414E-B9E3-DE4E9FFAA3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9" name="Freeform 37">
              <a:extLst>
                <a:ext uri="{FF2B5EF4-FFF2-40B4-BE49-F238E27FC236}">
                  <a16:creationId xmlns:a16="http://schemas.microsoft.com/office/drawing/2014/main" id="{DACBD04B-22FF-4A4F-8B29-A2F31A054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0" name="Freeform 38">
              <a:extLst>
                <a:ext uri="{FF2B5EF4-FFF2-40B4-BE49-F238E27FC236}">
                  <a16:creationId xmlns:a16="http://schemas.microsoft.com/office/drawing/2014/main" id="{A13F6E37-C22B-4FD3-ADFE-9C53ECB446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1" name="Freeform 39">
              <a:extLst>
                <a:ext uri="{FF2B5EF4-FFF2-40B4-BE49-F238E27FC236}">
                  <a16:creationId xmlns:a16="http://schemas.microsoft.com/office/drawing/2014/main" id="{76256F1D-405A-49F9-8592-A899623F2D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2" name="Freeform 40">
              <a:extLst>
                <a:ext uri="{FF2B5EF4-FFF2-40B4-BE49-F238E27FC236}">
                  <a16:creationId xmlns:a16="http://schemas.microsoft.com/office/drawing/2014/main" id="{2F9CAE14-DB05-4B70-867F-3F6164BDB7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3" name="Freeform 41">
              <a:extLst>
                <a:ext uri="{FF2B5EF4-FFF2-40B4-BE49-F238E27FC236}">
                  <a16:creationId xmlns:a16="http://schemas.microsoft.com/office/drawing/2014/main" id="{30C7B10F-7027-41F9-BEE2-F1575CB690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4" name="Freeform 42">
              <a:extLst>
                <a:ext uri="{FF2B5EF4-FFF2-40B4-BE49-F238E27FC236}">
                  <a16:creationId xmlns:a16="http://schemas.microsoft.com/office/drawing/2014/main" id="{16B384B2-A2D9-4CB4-AF87-AF1004852B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5" name="Freeform 43">
              <a:extLst>
                <a:ext uri="{FF2B5EF4-FFF2-40B4-BE49-F238E27FC236}">
                  <a16:creationId xmlns:a16="http://schemas.microsoft.com/office/drawing/2014/main" id="{DC309D60-84B9-4652-BEF1-F71EFAD3A4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6" name="Freeform 44">
              <a:extLst>
                <a:ext uri="{FF2B5EF4-FFF2-40B4-BE49-F238E27FC236}">
                  <a16:creationId xmlns:a16="http://schemas.microsoft.com/office/drawing/2014/main" id="{A4440044-5486-483F-B652-7EE3849461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7" name="Freeform 45">
              <a:extLst>
                <a:ext uri="{FF2B5EF4-FFF2-40B4-BE49-F238E27FC236}">
                  <a16:creationId xmlns:a16="http://schemas.microsoft.com/office/drawing/2014/main" id="{446771E9-EA09-4256-8955-FE392C07AFC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8" name="Freeform 46">
              <a:extLst>
                <a:ext uri="{FF2B5EF4-FFF2-40B4-BE49-F238E27FC236}">
                  <a16:creationId xmlns:a16="http://schemas.microsoft.com/office/drawing/2014/main" id="{FE985025-CAA5-44F2-9174-87CD1D8B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9" name="Freeform 47">
              <a:extLst>
                <a:ext uri="{FF2B5EF4-FFF2-40B4-BE49-F238E27FC236}">
                  <a16:creationId xmlns:a16="http://schemas.microsoft.com/office/drawing/2014/main" id="{1105FBBE-AD06-4F22-94D8-E2E98185FA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30" name="Freeform 48">
              <a:extLst>
                <a:ext uri="{FF2B5EF4-FFF2-40B4-BE49-F238E27FC236}">
                  <a16:creationId xmlns:a16="http://schemas.microsoft.com/office/drawing/2014/main" id="{8141824A-6AD4-4B53-B837-71461DD538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31" name="Freeform 49">
              <a:extLst>
                <a:ext uri="{FF2B5EF4-FFF2-40B4-BE49-F238E27FC236}">
                  <a16:creationId xmlns:a16="http://schemas.microsoft.com/office/drawing/2014/main" id="{1CEF1D95-CD6C-417A-9539-CB4DBAA5E0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32" name="Freeform 50">
              <a:extLst>
                <a:ext uri="{FF2B5EF4-FFF2-40B4-BE49-F238E27FC236}">
                  <a16:creationId xmlns:a16="http://schemas.microsoft.com/office/drawing/2014/main" id="{BF6CB5D3-9648-4D73-AB7C-5374814E5BA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33" name="Freeform 51">
              <a:extLst>
                <a:ext uri="{FF2B5EF4-FFF2-40B4-BE49-F238E27FC236}">
                  <a16:creationId xmlns:a16="http://schemas.microsoft.com/office/drawing/2014/main" id="{55F0E322-3AEE-482E-8E59-9FB04FACA9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34" name="Freeform 52">
              <a:extLst>
                <a:ext uri="{FF2B5EF4-FFF2-40B4-BE49-F238E27FC236}">
                  <a16:creationId xmlns:a16="http://schemas.microsoft.com/office/drawing/2014/main" id="{0D3C59AD-7CCF-4166-9D21-3C348488931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35" name="Freeform 53">
              <a:extLst>
                <a:ext uri="{FF2B5EF4-FFF2-40B4-BE49-F238E27FC236}">
                  <a16:creationId xmlns:a16="http://schemas.microsoft.com/office/drawing/2014/main" id="{9C9DA4CE-7B4D-42AE-9264-92B7D7757D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36" name="Freeform 54">
              <a:extLst>
                <a:ext uri="{FF2B5EF4-FFF2-40B4-BE49-F238E27FC236}">
                  <a16:creationId xmlns:a16="http://schemas.microsoft.com/office/drawing/2014/main" id="{DBCBD0D2-5C9C-4B12-8CF8-9CA320825E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37" name="Freeform 55">
              <a:extLst>
                <a:ext uri="{FF2B5EF4-FFF2-40B4-BE49-F238E27FC236}">
                  <a16:creationId xmlns:a16="http://schemas.microsoft.com/office/drawing/2014/main" id="{CDCFBD31-7961-4587-876E-1FAFC4E74A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38" name="Freeform 56">
              <a:extLst>
                <a:ext uri="{FF2B5EF4-FFF2-40B4-BE49-F238E27FC236}">
                  <a16:creationId xmlns:a16="http://schemas.microsoft.com/office/drawing/2014/main" id="{52482C08-723A-4738-9787-3516B3C171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39" name="Freeform 57">
              <a:extLst>
                <a:ext uri="{FF2B5EF4-FFF2-40B4-BE49-F238E27FC236}">
                  <a16:creationId xmlns:a16="http://schemas.microsoft.com/office/drawing/2014/main" id="{5B72A8F0-33E3-42CD-88C2-C35BEC0E98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40" name="Freeform 58">
              <a:extLst>
                <a:ext uri="{FF2B5EF4-FFF2-40B4-BE49-F238E27FC236}">
                  <a16:creationId xmlns:a16="http://schemas.microsoft.com/office/drawing/2014/main" id="{73FC54A2-6588-499B-968A-79F4CA9CF5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41" name="Freeform 59">
              <a:extLst>
                <a:ext uri="{FF2B5EF4-FFF2-40B4-BE49-F238E27FC236}">
                  <a16:creationId xmlns:a16="http://schemas.microsoft.com/office/drawing/2014/main" id="{1E6AB002-C130-4648-A18E-BA496FF1756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42" name="Freeform 60">
              <a:extLst>
                <a:ext uri="{FF2B5EF4-FFF2-40B4-BE49-F238E27FC236}">
                  <a16:creationId xmlns:a16="http://schemas.microsoft.com/office/drawing/2014/main" id="{B0044278-9F7F-4596-96D2-ACFBE0DEC0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43" name="Freeform 61">
              <a:extLst>
                <a:ext uri="{FF2B5EF4-FFF2-40B4-BE49-F238E27FC236}">
                  <a16:creationId xmlns:a16="http://schemas.microsoft.com/office/drawing/2014/main" id="{79F75E0D-27A7-44C1-BF19-495F4768F99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44" name="Freeform 62">
              <a:extLst>
                <a:ext uri="{FF2B5EF4-FFF2-40B4-BE49-F238E27FC236}">
                  <a16:creationId xmlns:a16="http://schemas.microsoft.com/office/drawing/2014/main" id="{E5B9E395-C74C-4D98-8911-EE2C765D8B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45" name="Freeform 63">
              <a:extLst>
                <a:ext uri="{FF2B5EF4-FFF2-40B4-BE49-F238E27FC236}">
                  <a16:creationId xmlns:a16="http://schemas.microsoft.com/office/drawing/2014/main" id="{53BB8418-388C-4142-9A80-8BF00A87F7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46" name="Freeform 64">
              <a:extLst>
                <a:ext uri="{FF2B5EF4-FFF2-40B4-BE49-F238E27FC236}">
                  <a16:creationId xmlns:a16="http://schemas.microsoft.com/office/drawing/2014/main" id="{0256DB41-B3C1-4FEB-B394-9762C00E7F7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47" name="Freeform 65">
              <a:extLst>
                <a:ext uri="{FF2B5EF4-FFF2-40B4-BE49-F238E27FC236}">
                  <a16:creationId xmlns:a16="http://schemas.microsoft.com/office/drawing/2014/main" id="{F2BC9C1F-3F30-47A6-B503-20FB179B7F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48" name="Freeform 66">
              <a:extLst>
                <a:ext uri="{FF2B5EF4-FFF2-40B4-BE49-F238E27FC236}">
                  <a16:creationId xmlns:a16="http://schemas.microsoft.com/office/drawing/2014/main" id="{F2E1921C-CA0E-4886-93CA-956A6497CF0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49" name="Freeform 67">
              <a:extLst>
                <a:ext uri="{FF2B5EF4-FFF2-40B4-BE49-F238E27FC236}">
                  <a16:creationId xmlns:a16="http://schemas.microsoft.com/office/drawing/2014/main" id="{33147323-CD74-4B45-8B3D-9FC2D6ABC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50" name="Freeform 68">
              <a:extLst>
                <a:ext uri="{FF2B5EF4-FFF2-40B4-BE49-F238E27FC236}">
                  <a16:creationId xmlns:a16="http://schemas.microsoft.com/office/drawing/2014/main" id="{646502BE-8655-4E99-B8D3-19E6C1D2B9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51" name="Freeform 69">
              <a:extLst>
                <a:ext uri="{FF2B5EF4-FFF2-40B4-BE49-F238E27FC236}">
                  <a16:creationId xmlns:a16="http://schemas.microsoft.com/office/drawing/2014/main" id="{7B89F1B5-6B06-45D2-838B-039A44EFFD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52" name="Freeform 70">
              <a:extLst>
                <a:ext uri="{FF2B5EF4-FFF2-40B4-BE49-F238E27FC236}">
                  <a16:creationId xmlns:a16="http://schemas.microsoft.com/office/drawing/2014/main" id="{07A005EC-C937-4146-8D02-C00C5931EB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  <p:sp>
        <p:nvSpPr>
          <p:cNvPr id="263" name="Title 1">
            <a:extLst>
              <a:ext uri="{FF2B5EF4-FFF2-40B4-BE49-F238E27FC236}">
                <a16:creationId xmlns:a16="http://schemas.microsoft.com/office/drawing/2014/main" id="{3F36D6CC-3534-47CC-AECE-83EDA4639FB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1069705" y="2158329"/>
            <a:ext cx="4020820" cy="860400"/>
          </a:xfrm>
          <a:prstGeom prst="rect">
            <a:avLst/>
          </a:prstGeom>
        </p:spPr>
        <p:txBody>
          <a:bodyPr/>
          <a:lstStyle>
            <a:lvl1pPr>
              <a:defRPr sz="3000" b="0">
                <a:solidFill>
                  <a:srgbClr val="FFFFFF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264" name="Subtitle 2">
            <a:extLst>
              <a:ext uri="{FF2B5EF4-FFF2-40B4-BE49-F238E27FC236}">
                <a16:creationId xmlns:a16="http://schemas.microsoft.com/office/drawing/2014/main" id="{C26FB38E-4E99-4AFB-8C8C-F03F7A963D9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1069897" y="3200329"/>
            <a:ext cx="4020628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rgbClr val="FFFFFF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AE95BC52-A56D-4358-A294-750179EBB698}"/>
              </a:ext>
            </a:extLst>
          </p:cNvPr>
          <p:cNvGrpSpPr/>
          <p:nvPr userDrawn="1"/>
        </p:nvGrpSpPr>
        <p:grpSpPr>
          <a:xfrm>
            <a:off x="614191" y="876058"/>
            <a:ext cx="4855295" cy="3374475"/>
            <a:chOff x="6855933" y="899048"/>
            <a:chExt cx="4855295" cy="3374475"/>
          </a:xfrm>
          <a:solidFill>
            <a:schemeClr val="tx2"/>
          </a:solidFill>
        </p:grpSpPr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ECBD2AD5-9A79-4CFE-A808-769ADC8898F3}"/>
                </a:ext>
              </a:extLst>
            </p:cNvPr>
            <p:cNvSpPr/>
            <p:nvPr/>
          </p:nvSpPr>
          <p:spPr>
            <a:xfrm>
              <a:off x="6855933" y="899048"/>
              <a:ext cx="4855295" cy="3374475"/>
            </a:xfrm>
            <a:custGeom>
              <a:avLst/>
              <a:gdLst>
                <a:gd name="connsiteX0" fmla="*/ 6731 w 4855294"/>
                <a:gd name="connsiteY0" fmla="*/ 863542 h 3374474"/>
                <a:gd name="connsiteX1" fmla="*/ 6731 w 4855294"/>
                <a:gd name="connsiteY1" fmla="*/ 3095901 h 3374474"/>
                <a:gd name="connsiteX2" fmla="*/ 145659 w 4855294"/>
                <a:gd name="connsiteY2" fmla="*/ 3095901 h 3374474"/>
                <a:gd name="connsiteX3" fmla="*/ 145659 w 4855294"/>
                <a:gd name="connsiteY3" fmla="*/ 988380 h 3374474"/>
                <a:gd name="connsiteX4" fmla="*/ 4715918 w 4855294"/>
                <a:gd name="connsiteY4" fmla="*/ 179673 h 3374474"/>
                <a:gd name="connsiteX5" fmla="*/ 4715918 w 4855294"/>
                <a:gd name="connsiteY5" fmla="*/ 3234829 h 3374474"/>
                <a:gd name="connsiteX6" fmla="*/ 840208 w 4855294"/>
                <a:gd name="connsiteY6" fmla="*/ 3234829 h 3374474"/>
                <a:gd name="connsiteX7" fmla="*/ 840208 w 4855294"/>
                <a:gd name="connsiteY7" fmla="*/ 3373757 h 3374474"/>
                <a:gd name="connsiteX8" fmla="*/ 4854846 w 4855294"/>
                <a:gd name="connsiteY8" fmla="*/ 3373757 h 3374474"/>
                <a:gd name="connsiteX9" fmla="*/ 4854846 w 4855294"/>
                <a:gd name="connsiteY9" fmla="*/ 6731 h 3374474"/>
                <a:gd name="connsiteX10" fmla="*/ 6731 w 4855294"/>
                <a:gd name="connsiteY10" fmla="*/ 863542 h 3374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855294" h="3374474">
                  <a:moveTo>
                    <a:pt x="6731" y="863542"/>
                  </a:moveTo>
                  <a:lnTo>
                    <a:pt x="6731" y="3095901"/>
                  </a:lnTo>
                  <a:lnTo>
                    <a:pt x="145659" y="3095901"/>
                  </a:lnTo>
                  <a:lnTo>
                    <a:pt x="145659" y="988380"/>
                  </a:lnTo>
                  <a:lnTo>
                    <a:pt x="4715918" y="179673"/>
                  </a:lnTo>
                  <a:lnTo>
                    <a:pt x="4715918" y="3234829"/>
                  </a:lnTo>
                  <a:lnTo>
                    <a:pt x="840208" y="3234829"/>
                  </a:lnTo>
                  <a:lnTo>
                    <a:pt x="840208" y="3373757"/>
                  </a:lnTo>
                  <a:lnTo>
                    <a:pt x="4854846" y="3373757"/>
                  </a:lnTo>
                  <a:lnTo>
                    <a:pt x="4854846" y="6731"/>
                  </a:lnTo>
                  <a:lnTo>
                    <a:pt x="6731" y="86354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noProof="0" dirty="0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9EE673CB-A779-4F64-B72D-93428DD2B26D}"/>
                </a:ext>
              </a:extLst>
            </p:cNvPr>
            <p:cNvSpPr/>
            <p:nvPr/>
          </p:nvSpPr>
          <p:spPr>
            <a:xfrm>
              <a:off x="6855933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noProof="0" dirty="0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88144C98-507D-403B-8819-FBBF64A82FA3}"/>
                </a:ext>
              </a:extLst>
            </p:cNvPr>
            <p:cNvSpPr/>
            <p:nvPr/>
          </p:nvSpPr>
          <p:spPr>
            <a:xfrm>
              <a:off x="7133789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noProof="0" dirty="0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21919CB3-2430-4DA6-BF41-59A1EF9C03CB}"/>
                </a:ext>
              </a:extLst>
            </p:cNvPr>
            <p:cNvSpPr/>
            <p:nvPr/>
          </p:nvSpPr>
          <p:spPr>
            <a:xfrm>
              <a:off x="7411555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noProof="0" dirty="0"/>
            </a:p>
          </p:txBody>
        </p:sp>
      </p:grpSp>
      <p:grpSp>
        <p:nvGrpSpPr>
          <p:cNvPr id="82" name="Group 4">
            <a:extLst>
              <a:ext uri="{FF2B5EF4-FFF2-40B4-BE49-F238E27FC236}">
                <a16:creationId xmlns:a16="http://schemas.microsoft.com/office/drawing/2014/main" id="{C5FADEE5-07C4-41A9-88D6-C6D2ED1362B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83" name="Freeform 5">
              <a:extLst>
                <a:ext uri="{FF2B5EF4-FFF2-40B4-BE49-F238E27FC236}">
                  <a16:creationId xmlns:a16="http://schemas.microsoft.com/office/drawing/2014/main" id="{5A2C465B-7D43-431D-A35E-50762E7696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84" name="Freeform 6">
              <a:extLst>
                <a:ext uri="{FF2B5EF4-FFF2-40B4-BE49-F238E27FC236}">
                  <a16:creationId xmlns:a16="http://schemas.microsoft.com/office/drawing/2014/main" id="{AC35E6C1-71A8-4C9D-A1A5-682B0BD0A03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</p:grpSp>
      <p:sp>
        <p:nvSpPr>
          <p:cNvPr id="87" name="Rectangle 9">
            <a:extLst>
              <a:ext uri="{FF2B5EF4-FFF2-40B4-BE49-F238E27FC236}">
                <a16:creationId xmlns:a16="http://schemas.microsoft.com/office/drawing/2014/main" id="{F314F876-941A-40CD-B64C-56E5901EC54D}"/>
              </a:ext>
            </a:extLst>
          </p:cNvPr>
          <p:cNvSpPr/>
          <p:nvPr userDrawn="1"/>
        </p:nvSpPr>
        <p:spPr>
          <a:xfrm>
            <a:off x="-2054226" y="-8465"/>
            <a:ext cx="1952299" cy="2446866"/>
          </a:xfrm>
          <a:prstGeom prst="rect">
            <a:avLst/>
          </a:pr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3972" tIns="53972" rIns="53972" bIns="53972" rtlCol="0" anchor="t" anchorCtr="0"/>
          <a:lstStyle/>
          <a:p>
            <a:pPr>
              <a:spcAft>
                <a:spcPts val="0"/>
              </a:spcAft>
            </a:pPr>
            <a:r>
              <a:rPr lang="en-US" sz="1200" b="1" dirty="0">
                <a:solidFill>
                  <a:srgbClr val="000000"/>
                </a:solidFill>
                <a:latin typeface="EYInterstate Light" panose="02000506000000020004" pitchFamily="2" charset="0"/>
              </a:rPr>
              <a:t>INSTRUCTIONS:</a:t>
            </a:r>
            <a:br>
              <a:rPr lang="en-US" sz="1200" b="1" dirty="0">
                <a:solidFill>
                  <a:srgbClr val="000000"/>
                </a:solidFill>
                <a:latin typeface="EYInterstate Light" panose="02000506000000020004" pitchFamily="2" charset="0"/>
              </a:rPr>
            </a:br>
            <a:r>
              <a:rPr lang="en-US" sz="1200" dirty="0">
                <a:solidFill>
                  <a:srgbClr val="000000"/>
                </a:solidFill>
              </a:rPr>
              <a:t>In order to use this frame cover template, </a:t>
            </a:r>
            <a:br>
              <a:rPr lang="en-US" sz="1200" dirty="0">
                <a:solidFill>
                  <a:srgbClr val="000000"/>
                </a:solidFill>
              </a:rPr>
            </a:br>
            <a:r>
              <a:rPr lang="en-US" sz="1200" dirty="0">
                <a:solidFill>
                  <a:srgbClr val="000000"/>
                </a:solidFill>
              </a:rPr>
              <a:t>an approved EY better question is required. See </a:t>
            </a:r>
            <a:r>
              <a:rPr lang="en-US" sz="1200" u="sng" dirty="0">
                <a:solidFill>
                  <a:srgbClr val="0563C1"/>
                </a:solidFill>
                <a:ea typeface="Calibri" panose="020F0502020204030204" pitchFamily="34" charset="0"/>
                <a:hlinkClick r:id="rId7"/>
              </a:rPr>
              <a:t>http://brandingzone.ey.net/national/bzcontest.nsf/controldocview/BetterQuestions/$file/fullpage.html#firstPage</a:t>
            </a:r>
            <a:r>
              <a:rPr lang="en-US" sz="1200" dirty="0">
                <a:ea typeface="Calibri" panose="020F0502020204030204" pitchFamily="34" charset="0"/>
              </a:rPr>
              <a:t> </a:t>
            </a:r>
            <a:r>
              <a:rPr lang="en-US" sz="1200" dirty="0">
                <a:solidFill>
                  <a:srgbClr val="000000"/>
                </a:solidFill>
              </a:rPr>
              <a:t>for information on how to formulate better questions.</a:t>
            </a:r>
            <a:endParaRPr lang="de-DE" sz="1200" dirty="0">
              <a:solidFill>
                <a:srgbClr val="000000"/>
              </a:solidFill>
            </a:endParaRPr>
          </a:p>
        </p:txBody>
      </p:sp>
      <p:grpSp>
        <p:nvGrpSpPr>
          <p:cNvPr id="88" name="Gruppieren 87"/>
          <p:cNvGrpSpPr/>
          <p:nvPr userDrawn="1"/>
        </p:nvGrpSpPr>
        <p:grpSpPr bwMode="white">
          <a:xfrm>
            <a:off x="9713775" y="440057"/>
            <a:ext cx="1868402" cy="962657"/>
            <a:chOff x="9731769" y="638177"/>
            <a:chExt cx="2017456" cy="1039454"/>
          </a:xfrm>
        </p:grpSpPr>
        <p:sp>
          <p:nvSpPr>
            <p:cNvPr id="89" name="Freeform 5">
              <a:extLst>
                <a:ext uri="{FF2B5EF4-FFF2-40B4-BE49-F238E27FC236}">
                  <a16:creationId xmlns:a16="http://schemas.microsoft.com/office/drawing/2014/main" id="{8A9BDB58-231B-4B70-8059-20CAA94E9F64}"/>
                </a:ext>
              </a:extLst>
            </p:cNvPr>
            <p:cNvSpPr>
              <a:spLocks noEditPoints="1"/>
            </p:cNvSpPr>
            <p:nvPr/>
          </p:nvSpPr>
          <p:spPr bwMode="white">
            <a:xfrm>
              <a:off x="9731769" y="1406980"/>
              <a:ext cx="19613" cy="91524"/>
            </a:xfrm>
            <a:custGeom>
              <a:avLst/>
              <a:gdLst>
                <a:gd name="T0" fmla="*/ 29 w 29"/>
                <a:gd name="T1" fmla="*/ 14 h 134"/>
                <a:gd name="T2" fmla="*/ 28 w 29"/>
                <a:gd name="T3" fmla="*/ 20 h 134"/>
                <a:gd name="T4" fmla="*/ 25 w 29"/>
                <a:gd name="T5" fmla="*/ 25 h 134"/>
                <a:gd name="T6" fmla="*/ 20 w 29"/>
                <a:gd name="T7" fmla="*/ 28 h 134"/>
                <a:gd name="T8" fmla="*/ 15 w 29"/>
                <a:gd name="T9" fmla="*/ 29 h 134"/>
                <a:gd name="T10" fmla="*/ 9 w 29"/>
                <a:gd name="T11" fmla="*/ 28 h 134"/>
                <a:gd name="T12" fmla="*/ 5 w 29"/>
                <a:gd name="T13" fmla="*/ 25 h 134"/>
                <a:gd name="T14" fmla="*/ 1 w 29"/>
                <a:gd name="T15" fmla="*/ 20 h 134"/>
                <a:gd name="T16" fmla="*/ 0 w 29"/>
                <a:gd name="T17" fmla="*/ 14 h 134"/>
                <a:gd name="T18" fmla="*/ 1 w 29"/>
                <a:gd name="T19" fmla="*/ 9 h 134"/>
                <a:gd name="T20" fmla="*/ 5 w 29"/>
                <a:gd name="T21" fmla="*/ 4 h 134"/>
                <a:gd name="T22" fmla="*/ 9 w 29"/>
                <a:gd name="T23" fmla="*/ 1 h 134"/>
                <a:gd name="T24" fmla="*/ 15 w 29"/>
                <a:gd name="T25" fmla="*/ 0 h 134"/>
                <a:gd name="T26" fmla="*/ 20 w 29"/>
                <a:gd name="T27" fmla="*/ 1 h 134"/>
                <a:gd name="T28" fmla="*/ 25 w 29"/>
                <a:gd name="T29" fmla="*/ 4 h 134"/>
                <a:gd name="T30" fmla="*/ 28 w 29"/>
                <a:gd name="T31" fmla="*/ 9 h 134"/>
                <a:gd name="T32" fmla="*/ 29 w 29"/>
                <a:gd name="T33" fmla="*/ 14 h 134"/>
                <a:gd name="T34" fmla="*/ 2 w 29"/>
                <a:gd name="T35" fmla="*/ 134 h 134"/>
                <a:gd name="T36" fmla="*/ 2 w 29"/>
                <a:gd name="T37" fmla="*/ 37 h 134"/>
                <a:gd name="T38" fmla="*/ 28 w 29"/>
                <a:gd name="T39" fmla="*/ 37 h 134"/>
                <a:gd name="T40" fmla="*/ 28 w 29"/>
                <a:gd name="T41" fmla="*/ 134 h 134"/>
                <a:gd name="T42" fmla="*/ 2 w 29"/>
                <a:gd name="T43" fmla="*/ 134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9" h="134">
                  <a:moveTo>
                    <a:pt x="29" y="14"/>
                  </a:moveTo>
                  <a:cubicBezTo>
                    <a:pt x="29" y="16"/>
                    <a:pt x="29" y="18"/>
                    <a:pt x="28" y="20"/>
                  </a:cubicBezTo>
                  <a:cubicBezTo>
                    <a:pt x="28" y="22"/>
                    <a:pt x="26" y="23"/>
                    <a:pt x="25" y="25"/>
                  </a:cubicBezTo>
                  <a:cubicBezTo>
                    <a:pt x="24" y="26"/>
                    <a:pt x="22" y="27"/>
                    <a:pt x="20" y="28"/>
                  </a:cubicBezTo>
                  <a:cubicBezTo>
                    <a:pt x="19" y="29"/>
                    <a:pt x="17" y="29"/>
                    <a:pt x="15" y="29"/>
                  </a:cubicBezTo>
                  <a:cubicBezTo>
                    <a:pt x="13" y="29"/>
                    <a:pt x="11" y="29"/>
                    <a:pt x="9" y="28"/>
                  </a:cubicBezTo>
                  <a:cubicBezTo>
                    <a:pt x="7" y="27"/>
                    <a:pt x="6" y="26"/>
                    <a:pt x="5" y="25"/>
                  </a:cubicBezTo>
                  <a:cubicBezTo>
                    <a:pt x="3" y="23"/>
                    <a:pt x="2" y="22"/>
                    <a:pt x="1" y="20"/>
                  </a:cubicBezTo>
                  <a:cubicBezTo>
                    <a:pt x="1" y="18"/>
                    <a:pt x="0" y="16"/>
                    <a:pt x="0" y="14"/>
                  </a:cubicBezTo>
                  <a:cubicBezTo>
                    <a:pt x="0" y="12"/>
                    <a:pt x="1" y="11"/>
                    <a:pt x="1" y="9"/>
                  </a:cubicBezTo>
                  <a:cubicBezTo>
                    <a:pt x="2" y="7"/>
                    <a:pt x="3" y="5"/>
                    <a:pt x="5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2" y="2"/>
                    <a:pt x="24" y="3"/>
                    <a:pt x="25" y="4"/>
                  </a:cubicBezTo>
                  <a:cubicBezTo>
                    <a:pt x="26" y="5"/>
                    <a:pt x="28" y="7"/>
                    <a:pt x="28" y="9"/>
                  </a:cubicBezTo>
                  <a:cubicBezTo>
                    <a:pt x="29" y="11"/>
                    <a:pt x="29" y="12"/>
                    <a:pt x="29" y="14"/>
                  </a:cubicBezTo>
                  <a:close/>
                  <a:moveTo>
                    <a:pt x="2" y="134"/>
                  </a:moveTo>
                  <a:cubicBezTo>
                    <a:pt x="2" y="37"/>
                    <a:pt x="2" y="37"/>
                    <a:pt x="2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134"/>
                    <a:pt x="28" y="134"/>
                    <a:pt x="28" y="134"/>
                  </a:cubicBezTo>
                  <a:lnTo>
                    <a:pt x="2" y="1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90" name="Freeform 6">
              <a:extLst>
                <a:ext uri="{FF2B5EF4-FFF2-40B4-BE49-F238E27FC236}">
                  <a16:creationId xmlns:a16="http://schemas.microsoft.com/office/drawing/2014/main" id="{97DAE07B-DE87-4358-BA44-6531EF3573CD}"/>
                </a:ext>
              </a:extLst>
            </p:cNvPr>
            <p:cNvSpPr>
              <a:spLocks/>
            </p:cNvSpPr>
            <p:nvPr/>
          </p:nvSpPr>
          <p:spPr bwMode="white">
            <a:xfrm>
              <a:off x="9767071" y="1430515"/>
              <a:ext cx="58837" cy="67989"/>
            </a:xfrm>
            <a:custGeom>
              <a:avLst/>
              <a:gdLst>
                <a:gd name="T0" fmla="*/ 59 w 85"/>
                <a:gd name="T1" fmla="*/ 99 h 99"/>
                <a:gd name="T2" fmla="*/ 59 w 85"/>
                <a:gd name="T3" fmla="*/ 47 h 99"/>
                <a:gd name="T4" fmla="*/ 55 w 85"/>
                <a:gd name="T5" fmla="*/ 30 h 99"/>
                <a:gd name="T6" fmla="*/ 43 w 85"/>
                <a:gd name="T7" fmla="*/ 24 h 99"/>
                <a:gd name="T8" fmla="*/ 35 w 85"/>
                <a:gd name="T9" fmla="*/ 25 h 99"/>
                <a:gd name="T10" fmla="*/ 30 w 85"/>
                <a:gd name="T11" fmla="*/ 29 h 99"/>
                <a:gd name="T12" fmla="*/ 27 w 85"/>
                <a:gd name="T13" fmla="*/ 35 h 99"/>
                <a:gd name="T14" fmla="*/ 26 w 85"/>
                <a:gd name="T15" fmla="*/ 46 h 99"/>
                <a:gd name="T16" fmla="*/ 26 w 85"/>
                <a:gd name="T17" fmla="*/ 99 h 99"/>
                <a:gd name="T18" fmla="*/ 0 w 85"/>
                <a:gd name="T19" fmla="*/ 99 h 99"/>
                <a:gd name="T20" fmla="*/ 0 w 85"/>
                <a:gd name="T21" fmla="*/ 2 h 99"/>
                <a:gd name="T22" fmla="*/ 26 w 85"/>
                <a:gd name="T23" fmla="*/ 2 h 99"/>
                <a:gd name="T24" fmla="*/ 26 w 85"/>
                <a:gd name="T25" fmla="*/ 8 h 99"/>
                <a:gd name="T26" fmla="*/ 30 w 85"/>
                <a:gd name="T27" fmla="*/ 5 h 99"/>
                <a:gd name="T28" fmla="*/ 35 w 85"/>
                <a:gd name="T29" fmla="*/ 2 h 99"/>
                <a:gd name="T30" fmla="*/ 42 w 85"/>
                <a:gd name="T31" fmla="*/ 1 h 99"/>
                <a:gd name="T32" fmla="*/ 49 w 85"/>
                <a:gd name="T33" fmla="*/ 0 h 99"/>
                <a:gd name="T34" fmla="*/ 65 w 85"/>
                <a:gd name="T35" fmla="*/ 3 h 99"/>
                <a:gd name="T36" fmla="*/ 76 w 85"/>
                <a:gd name="T37" fmla="*/ 12 h 99"/>
                <a:gd name="T38" fmla="*/ 82 w 85"/>
                <a:gd name="T39" fmla="*/ 26 h 99"/>
                <a:gd name="T40" fmla="*/ 85 w 85"/>
                <a:gd name="T41" fmla="*/ 44 h 99"/>
                <a:gd name="T42" fmla="*/ 85 w 85"/>
                <a:gd name="T43" fmla="*/ 99 h 99"/>
                <a:gd name="T44" fmla="*/ 59 w 85"/>
                <a:gd name="T45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5" h="99">
                  <a:moveTo>
                    <a:pt x="59" y="99"/>
                  </a:moveTo>
                  <a:cubicBezTo>
                    <a:pt x="59" y="47"/>
                    <a:pt x="59" y="47"/>
                    <a:pt x="59" y="47"/>
                  </a:cubicBezTo>
                  <a:cubicBezTo>
                    <a:pt x="59" y="39"/>
                    <a:pt x="58" y="33"/>
                    <a:pt x="55" y="30"/>
                  </a:cubicBezTo>
                  <a:cubicBezTo>
                    <a:pt x="53" y="26"/>
                    <a:pt x="49" y="24"/>
                    <a:pt x="43" y="24"/>
                  </a:cubicBezTo>
                  <a:cubicBezTo>
                    <a:pt x="40" y="24"/>
                    <a:pt x="38" y="24"/>
                    <a:pt x="35" y="25"/>
                  </a:cubicBezTo>
                  <a:cubicBezTo>
                    <a:pt x="33" y="26"/>
                    <a:pt x="32" y="27"/>
                    <a:pt x="30" y="29"/>
                  </a:cubicBezTo>
                  <a:cubicBezTo>
                    <a:pt x="29" y="30"/>
                    <a:pt x="28" y="33"/>
                    <a:pt x="27" y="35"/>
                  </a:cubicBezTo>
                  <a:cubicBezTo>
                    <a:pt x="26" y="38"/>
                    <a:pt x="26" y="42"/>
                    <a:pt x="26" y="46"/>
                  </a:cubicBezTo>
                  <a:cubicBezTo>
                    <a:pt x="26" y="99"/>
                    <a:pt x="26" y="99"/>
                    <a:pt x="26" y="99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7" y="7"/>
                    <a:pt x="28" y="6"/>
                    <a:pt x="30" y="5"/>
                  </a:cubicBezTo>
                  <a:cubicBezTo>
                    <a:pt x="31" y="4"/>
                    <a:pt x="33" y="3"/>
                    <a:pt x="35" y="2"/>
                  </a:cubicBezTo>
                  <a:cubicBezTo>
                    <a:pt x="37" y="2"/>
                    <a:pt x="39" y="1"/>
                    <a:pt x="42" y="1"/>
                  </a:cubicBezTo>
                  <a:cubicBezTo>
                    <a:pt x="44" y="0"/>
                    <a:pt x="46" y="0"/>
                    <a:pt x="49" y="0"/>
                  </a:cubicBezTo>
                  <a:cubicBezTo>
                    <a:pt x="55" y="0"/>
                    <a:pt x="60" y="1"/>
                    <a:pt x="65" y="3"/>
                  </a:cubicBezTo>
                  <a:cubicBezTo>
                    <a:pt x="69" y="5"/>
                    <a:pt x="73" y="8"/>
                    <a:pt x="76" y="12"/>
                  </a:cubicBezTo>
                  <a:cubicBezTo>
                    <a:pt x="79" y="16"/>
                    <a:pt x="81" y="20"/>
                    <a:pt x="82" y="26"/>
                  </a:cubicBezTo>
                  <a:cubicBezTo>
                    <a:pt x="84" y="31"/>
                    <a:pt x="85" y="38"/>
                    <a:pt x="85" y="44"/>
                  </a:cubicBezTo>
                  <a:cubicBezTo>
                    <a:pt x="85" y="99"/>
                    <a:pt x="85" y="99"/>
                    <a:pt x="85" y="99"/>
                  </a:cubicBezTo>
                  <a:lnTo>
                    <a:pt x="59" y="9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91" name="Freeform 7">
              <a:extLst>
                <a:ext uri="{FF2B5EF4-FFF2-40B4-BE49-F238E27FC236}">
                  <a16:creationId xmlns:a16="http://schemas.microsoft.com/office/drawing/2014/main" id="{39829C97-B9FD-4508-8651-C460629865A1}"/>
                </a:ext>
              </a:extLst>
            </p:cNvPr>
            <p:cNvSpPr>
              <a:spLocks noEditPoints="1"/>
            </p:cNvSpPr>
            <p:nvPr/>
          </p:nvSpPr>
          <p:spPr bwMode="white">
            <a:xfrm>
              <a:off x="9880823" y="1410902"/>
              <a:ext cx="71912" cy="87602"/>
            </a:xfrm>
            <a:custGeom>
              <a:avLst/>
              <a:gdLst>
                <a:gd name="T0" fmla="*/ 105 w 105"/>
                <a:gd name="T1" fmla="*/ 64 h 129"/>
                <a:gd name="T2" fmla="*/ 103 w 105"/>
                <a:gd name="T3" fmla="*/ 85 h 129"/>
                <a:gd name="T4" fmla="*/ 96 w 105"/>
                <a:gd name="T5" fmla="*/ 101 h 129"/>
                <a:gd name="T6" fmla="*/ 85 w 105"/>
                <a:gd name="T7" fmla="*/ 114 h 129"/>
                <a:gd name="T8" fmla="*/ 71 w 105"/>
                <a:gd name="T9" fmla="*/ 122 h 129"/>
                <a:gd name="T10" fmla="*/ 55 w 105"/>
                <a:gd name="T11" fmla="*/ 128 h 129"/>
                <a:gd name="T12" fmla="*/ 39 w 105"/>
                <a:gd name="T13" fmla="*/ 129 h 129"/>
                <a:gd name="T14" fmla="*/ 0 w 105"/>
                <a:gd name="T15" fmla="*/ 129 h 129"/>
                <a:gd name="T16" fmla="*/ 0 w 105"/>
                <a:gd name="T17" fmla="*/ 0 h 129"/>
                <a:gd name="T18" fmla="*/ 41 w 105"/>
                <a:gd name="T19" fmla="*/ 0 h 129"/>
                <a:gd name="T20" fmla="*/ 67 w 105"/>
                <a:gd name="T21" fmla="*/ 3 h 129"/>
                <a:gd name="T22" fmla="*/ 87 w 105"/>
                <a:gd name="T23" fmla="*/ 14 h 129"/>
                <a:gd name="T24" fmla="*/ 100 w 105"/>
                <a:gd name="T25" fmla="*/ 34 h 129"/>
                <a:gd name="T26" fmla="*/ 105 w 105"/>
                <a:gd name="T27" fmla="*/ 64 h 129"/>
                <a:gd name="T28" fmla="*/ 79 w 105"/>
                <a:gd name="T29" fmla="*/ 64 h 129"/>
                <a:gd name="T30" fmla="*/ 76 w 105"/>
                <a:gd name="T31" fmla="*/ 47 h 129"/>
                <a:gd name="T32" fmla="*/ 70 w 105"/>
                <a:gd name="T33" fmla="*/ 35 h 129"/>
                <a:gd name="T34" fmla="*/ 58 w 105"/>
                <a:gd name="T35" fmla="*/ 27 h 129"/>
                <a:gd name="T36" fmla="*/ 40 w 105"/>
                <a:gd name="T37" fmla="*/ 25 h 129"/>
                <a:gd name="T38" fmla="*/ 26 w 105"/>
                <a:gd name="T39" fmla="*/ 25 h 129"/>
                <a:gd name="T40" fmla="*/ 26 w 105"/>
                <a:gd name="T41" fmla="*/ 104 h 129"/>
                <a:gd name="T42" fmla="*/ 39 w 105"/>
                <a:gd name="T43" fmla="*/ 104 h 129"/>
                <a:gd name="T44" fmla="*/ 57 w 105"/>
                <a:gd name="T45" fmla="*/ 101 h 129"/>
                <a:gd name="T46" fmla="*/ 69 w 105"/>
                <a:gd name="T47" fmla="*/ 93 h 129"/>
                <a:gd name="T48" fmla="*/ 76 w 105"/>
                <a:gd name="T49" fmla="*/ 81 h 129"/>
                <a:gd name="T50" fmla="*/ 79 w 105"/>
                <a:gd name="T51" fmla="*/ 64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5" h="129">
                  <a:moveTo>
                    <a:pt x="105" y="64"/>
                  </a:moveTo>
                  <a:cubicBezTo>
                    <a:pt x="105" y="72"/>
                    <a:pt x="104" y="79"/>
                    <a:pt x="103" y="85"/>
                  </a:cubicBezTo>
                  <a:cubicBezTo>
                    <a:pt x="101" y="91"/>
                    <a:pt x="99" y="97"/>
                    <a:pt x="96" y="101"/>
                  </a:cubicBezTo>
                  <a:cubicBezTo>
                    <a:pt x="92" y="106"/>
                    <a:pt x="89" y="110"/>
                    <a:pt x="85" y="114"/>
                  </a:cubicBezTo>
                  <a:cubicBezTo>
                    <a:pt x="80" y="117"/>
                    <a:pt x="76" y="120"/>
                    <a:pt x="71" y="122"/>
                  </a:cubicBezTo>
                  <a:cubicBezTo>
                    <a:pt x="66" y="125"/>
                    <a:pt x="61" y="126"/>
                    <a:pt x="55" y="128"/>
                  </a:cubicBezTo>
                  <a:cubicBezTo>
                    <a:pt x="50" y="129"/>
                    <a:pt x="44" y="129"/>
                    <a:pt x="39" y="129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50" y="0"/>
                    <a:pt x="59" y="1"/>
                    <a:pt x="67" y="3"/>
                  </a:cubicBezTo>
                  <a:cubicBezTo>
                    <a:pt x="74" y="5"/>
                    <a:pt x="81" y="9"/>
                    <a:pt x="87" y="14"/>
                  </a:cubicBezTo>
                  <a:cubicBezTo>
                    <a:pt x="93" y="19"/>
                    <a:pt x="97" y="26"/>
                    <a:pt x="100" y="34"/>
                  </a:cubicBezTo>
                  <a:cubicBezTo>
                    <a:pt x="104" y="43"/>
                    <a:pt x="105" y="53"/>
                    <a:pt x="105" y="64"/>
                  </a:cubicBezTo>
                  <a:close/>
                  <a:moveTo>
                    <a:pt x="79" y="64"/>
                  </a:moveTo>
                  <a:cubicBezTo>
                    <a:pt x="79" y="58"/>
                    <a:pt x="78" y="52"/>
                    <a:pt x="76" y="47"/>
                  </a:cubicBezTo>
                  <a:cubicBezTo>
                    <a:pt x="75" y="42"/>
                    <a:pt x="73" y="38"/>
                    <a:pt x="70" y="35"/>
                  </a:cubicBezTo>
                  <a:cubicBezTo>
                    <a:pt x="66" y="31"/>
                    <a:pt x="62" y="29"/>
                    <a:pt x="58" y="27"/>
                  </a:cubicBezTo>
                  <a:cubicBezTo>
                    <a:pt x="53" y="26"/>
                    <a:pt x="47" y="25"/>
                    <a:pt x="40" y="25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6" y="104"/>
                    <a:pt x="26" y="104"/>
                    <a:pt x="26" y="104"/>
                  </a:cubicBezTo>
                  <a:cubicBezTo>
                    <a:pt x="39" y="104"/>
                    <a:pt x="39" y="104"/>
                    <a:pt x="39" y="104"/>
                  </a:cubicBezTo>
                  <a:cubicBezTo>
                    <a:pt x="46" y="104"/>
                    <a:pt x="52" y="103"/>
                    <a:pt x="57" y="101"/>
                  </a:cubicBezTo>
                  <a:cubicBezTo>
                    <a:pt x="62" y="99"/>
                    <a:pt x="66" y="97"/>
                    <a:pt x="69" y="93"/>
                  </a:cubicBezTo>
                  <a:cubicBezTo>
                    <a:pt x="72" y="90"/>
                    <a:pt x="75" y="85"/>
                    <a:pt x="76" y="81"/>
                  </a:cubicBezTo>
                  <a:cubicBezTo>
                    <a:pt x="78" y="76"/>
                    <a:pt x="79" y="70"/>
                    <a:pt x="79" y="6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92" name="Freeform 8">
              <a:extLst>
                <a:ext uri="{FF2B5EF4-FFF2-40B4-BE49-F238E27FC236}">
                  <a16:creationId xmlns:a16="http://schemas.microsoft.com/office/drawing/2014/main" id="{E6E8D961-2633-4DD4-9603-DC987B33CBF8}"/>
                </a:ext>
              </a:extLst>
            </p:cNvPr>
            <p:cNvSpPr>
              <a:spLocks noEditPoints="1"/>
            </p:cNvSpPr>
            <p:nvPr/>
          </p:nvSpPr>
          <p:spPr bwMode="white">
            <a:xfrm>
              <a:off x="9964502" y="1430515"/>
              <a:ext cx="56222" cy="69297"/>
            </a:xfrm>
            <a:custGeom>
              <a:avLst/>
              <a:gdLst>
                <a:gd name="T0" fmla="*/ 84 w 84"/>
                <a:gd name="T1" fmla="*/ 51 h 101"/>
                <a:gd name="T2" fmla="*/ 84 w 84"/>
                <a:gd name="T3" fmla="*/ 55 h 101"/>
                <a:gd name="T4" fmla="*/ 84 w 84"/>
                <a:gd name="T5" fmla="*/ 59 h 101"/>
                <a:gd name="T6" fmla="*/ 26 w 84"/>
                <a:gd name="T7" fmla="*/ 59 h 101"/>
                <a:gd name="T8" fmla="*/ 28 w 84"/>
                <a:gd name="T9" fmla="*/ 67 h 101"/>
                <a:gd name="T10" fmla="*/ 32 w 84"/>
                <a:gd name="T11" fmla="*/ 73 h 101"/>
                <a:gd name="T12" fmla="*/ 39 w 84"/>
                <a:gd name="T13" fmla="*/ 76 h 101"/>
                <a:gd name="T14" fmla="*/ 46 w 84"/>
                <a:gd name="T15" fmla="*/ 77 h 101"/>
                <a:gd name="T16" fmla="*/ 50 w 84"/>
                <a:gd name="T17" fmla="*/ 77 h 101"/>
                <a:gd name="T18" fmla="*/ 55 w 84"/>
                <a:gd name="T19" fmla="*/ 75 h 101"/>
                <a:gd name="T20" fmla="*/ 59 w 84"/>
                <a:gd name="T21" fmla="*/ 73 h 101"/>
                <a:gd name="T22" fmla="*/ 62 w 84"/>
                <a:gd name="T23" fmla="*/ 70 h 101"/>
                <a:gd name="T24" fmla="*/ 80 w 84"/>
                <a:gd name="T25" fmla="*/ 85 h 101"/>
                <a:gd name="T26" fmla="*/ 74 w 84"/>
                <a:gd name="T27" fmla="*/ 92 h 101"/>
                <a:gd name="T28" fmla="*/ 65 w 84"/>
                <a:gd name="T29" fmla="*/ 97 h 101"/>
                <a:gd name="T30" fmla="*/ 55 w 84"/>
                <a:gd name="T31" fmla="*/ 100 h 101"/>
                <a:gd name="T32" fmla="*/ 46 w 84"/>
                <a:gd name="T33" fmla="*/ 101 h 101"/>
                <a:gd name="T34" fmla="*/ 31 w 84"/>
                <a:gd name="T35" fmla="*/ 99 h 101"/>
                <a:gd name="T36" fmla="*/ 20 w 84"/>
                <a:gd name="T37" fmla="*/ 94 h 101"/>
                <a:gd name="T38" fmla="*/ 12 w 84"/>
                <a:gd name="T39" fmla="*/ 87 h 101"/>
                <a:gd name="T40" fmla="*/ 5 w 84"/>
                <a:gd name="T41" fmla="*/ 77 h 101"/>
                <a:gd name="T42" fmla="*/ 1 w 84"/>
                <a:gd name="T43" fmla="*/ 65 h 101"/>
                <a:gd name="T44" fmla="*/ 0 w 84"/>
                <a:gd name="T45" fmla="*/ 51 h 101"/>
                <a:gd name="T46" fmla="*/ 3 w 84"/>
                <a:gd name="T47" fmla="*/ 30 h 101"/>
                <a:gd name="T48" fmla="*/ 12 w 84"/>
                <a:gd name="T49" fmla="*/ 14 h 101"/>
                <a:gd name="T50" fmla="*/ 26 w 84"/>
                <a:gd name="T51" fmla="*/ 4 h 101"/>
                <a:gd name="T52" fmla="*/ 43 w 84"/>
                <a:gd name="T53" fmla="*/ 0 h 101"/>
                <a:gd name="T54" fmla="*/ 61 w 84"/>
                <a:gd name="T55" fmla="*/ 4 h 101"/>
                <a:gd name="T56" fmla="*/ 73 w 84"/>
                <a:gd name="T57" fmla="*/ 15 h 101"/>
                <a:gd name="T58" fmla="*/ 81 w 84"/>
                <a:gd name="T59" fmla="*/ 31 h 101"/>
                <a:gd name="T60" fmla="*/ 84 w 84"/>
                <a:gd name="T61" fmla="*/ 51 h 101"/>
                <a:gd name="T62" fmla="*/ 59 w 84"/>
                <a:gd name="T63" fmla="*/ 40 h 101"/>
                <a:gd name="T64" fmla="*/ 58 w 84"/>
                <a:gd name="T65" fmla="*/ 33 h 101"/>
                <a:gd name="T66" fmla="*/ 55 w 84"/>
                <a:gd name="T67" fmla="*/ 28 h 101"/>
                <a:gd name="T68" fmla="*/ 49 w 84"/>
                <a:gd name="T69" fmla="*/ 24 h 101"/>
                <a:gd name="T70" fmla="*/ 42 w 84"/>
                <a:gd name="T71" fmla="*/ 22 h 101"/>
                <a:gd name="T72" fmla="*/ 36 w 84"/>
                <a:gd name="T73" fmla="*/ 24 h 101"/>
                <a:gd name="T74" fmla="*/ 31 w 84"/>
                <a:gd name="T75" fmla="*/ 27 h 101"/>
                <a:gd name="T76" fmla="*/ 28 w 84"/>
                <a:gd name="T77" fmla="*/ 33 h 101"/>
                <a:gd name="T78" fmla="*/ 26 w 84"/>
                <a:gd name="T79" fmla="*/ 40 h 101"/>
                <a:gd name="T80" fmla="*/ 59 w 84"/>
                <a:gd name="T81" fmla="*/ 4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4" h="101">
                  <a:moveTo>
                    <a:pt x="84" y="51"/>
                  </a:moveTo>
                  <a:cubicBezTo>
                    <a:pt x="84" y="52"/>
                    <a:pt x="84" y="54"/>
                    <a:pt x="84" y="55"/>
                  </a:cubicBezTo>
                  <a:cubicBezTo>
                    <a:pt x="84" y="57"/>
                    <a:pt x="84" y="58"/>
                    <a:pt x="84" y="59"/>
                  </a:cubicBezTo>
                  <a:cubicBezTo>
                    <a:pt x="26" y="59"/>
                    <a:pt x="26" y="59"/>
                    <a:pt x="26" y="59"/>
                  </a:cubicBezTo>
                  <a:cubicBezTo>
                    <a:pt x="26" y="62"/>
                    <a:pt x="27" y="65"/>
                    <a:pt x="28" y="67"/>
                  </a:cubicBezTo>
                  <a:cubicBezTo>
                    <a:pt x="29" y="70"/>
                    <a:pt x="31" y="71"/>
                    <a:pt x="32" y="73"/>
                  </a:cubicBezTo>
                  <a:cubicBezTo>
                    <a:pt x="34" y="74"/>
                    <a:pt x="36" y="75"/>
                    <a:pt x="39" y="76"/>
                  </a:cubicBezTo>
                  <a:cubicBezTo>
                    <a:pt x="41" y="77"/>
                    <a:pt x="43" y="77"/>
                    <a:pt x="46" y="77"/>
                  </a:cubicBezTo>
                  <a:cubicBezTo>
                    <a:pt x="47" y="77"/>
                    <a:pt x="49" y="77"/>
                    <a:pt x="50" y="77"/>
                  </a:cubicBezTo>
                  <a:cubicBezTo>
                    <a:pt x="52" y="76"/>
                    <a:pt x="54" y="76"/>
                    <a:pt x="55" y="75"/>
                  </a:cubicBezTo>
                  <a:cubicBezTo>
                    <a:pt x="57" y="75"/>
                    <a:pt x="58" y="74"/>
                    <a:pt x="59" y="73"/>
                  </a:cubicBezTo>
                  <a:cubicBezTo>
                    <a:pt x="60" y="72"/>
                    <a:pt x="61" y="71"/>
                    <a:pt x="62" y="70"/>
                  </a:cubicBezTo>
                  <a:cubicBezTo>
                    <a:pt x="80" y="85"/>
                    <a:pt x="80" y="85"/>
                    <a:pt x="80" y="85"/>
                  </a:cubicBezTo>
                  <a:cubicBezTo>
                    <a:pt x="78" y="88"/>
                    <a:pt x="76" y="90"/>
                    <a:pt x="74" y="92"/>
                  </a:cubicBezTo>
                  <a:cubicBezTo>
                    <a:pt x="71" y="94"/>
                    <a:pt x="68" y="96"/>
                    <a:pt x="65" y="97"/>
                  </a:cubicBezTo>
                  <a:cubicBezTo>
                    <a:pt x="62" y="98"/>
                    <a:pt x="59" y="99"/>
                    <a:pt x="55" y="100"/>
                  </a:cubicBezTo>
                  <a:cubicBezTo>
                    <a:pt x="52" y="101"/>
                    <a:pt x="49" y="101"/>
                    <a:pt x="46" y="101"/>
                  </a:cubicBezTo>
                  <a:cubicBezTo>
                    <a:pt x="40" y="101"/>
                    <a:pt x="35" y="101"/>
                    <a:pt x="31" y="99"/>
                  </a:cubicBezTo>
                  <a:cubicBezTo>
                    <a:pt x="27" y="98"/>
                    <a:pt x="23" y="96"/>
                    <a:pt x="20" y="94"/>
                  </a:cubicBezTo>
                  <a:cubicBezTo>
                    <a:pt x="17" y="92"/>
                    <a:pt x="14" y="89"/>
                    <a:pt x="12" y="87"/>
                  </a:cubicBezTo>
                  <a:cubicBezTo>
                    <a:pt x="9" y="84"/>
                    <a:pt x="7" y="80"/>
                    <a:pt x="5" y="77"/>
                  </a:cubicBezTo>
                  <a:cubicBezTo>
                    <a:pt x="4" y="73"/>
                    <a:pt x="2" y="69"/>
                    <a:pt x="1" y="65"/>
                  </a:cubicBezTo>
                  <a:cubicBezTo>
                    <a:pt x="0" y="61"/>
                    <a:pt x="0" y="56"/>
                    <a:pt x="0" y="51"/>
                  </a:cubicBezTo>
                  <a:cubicBezTo>
                    <a:pt x="0" y="43"/>
                    <a:pt x="1" y="36"/>
                    <a:pt x="3" y="30"/>
                  </a:cubicBezTo>
                  <a:cubicBezTo>
                    <a:pt x="5" y="24"/>
                    <a:pt x="8" y="19"/>
                    <a:pt x="12" y="14"/>
                  </a:cubicBezTo>
                  <a:cubicBezTo>
                    <a:pt x="16" y="10"/>
                    <a:pt x="21" y="6"/>
                    <a:pt x="26" y="4"/>
                  </a:cubicBezTo>
                  <a:cubicBezTo>
                    <a:pt x="31" y="1"/>
                    <a:pt x="37" y="0"/>
                    <a:pt x="43" y="0"/>
                  </a:cubicBezTo>
                  <a:cubicBezTo>
                    <a:pt x="50" y="0"/>
                    <a:pt x="55" y="1"/>
                    <a:pt x="61" y="4"/>
                  </a:cubicBezTo>
                  <a:cubicBezTo>
                    <a:pt x="66" y="7"/>
                    <a:pt x="70" y="10"/>
                    <a:pt x="73" y="15"/>
                  </a:cubicBezTo>
                  <a:cubicBezTo>
                    <a:pt x="77" y="19"/>
                    <a:pt x="79" y="25"/>
                    <a:pt x="81" y="31"/>
                  </a:cubicBezTo>
                  <a:cubicBezTo>
                    <a:pt x="83" y="37"/>
                    <a:pt x="84" y="44"/>
                    <a:pt x="84" y="51"/>
                  </a:cubicBezTo>
                  <a:close/>
                  <a:moveTo>
                    <a:pt x="59" y="40"/>
                  </a:moveTo>
                  <a:cubicBezTo>
                    <a:pt x="59" y="37"/>
                    <a:pt x="59" y="35"/>
                    <a:pt x="58" y="33"/>
                  </a:cubicBezTo>
                  <a:cubicBezTo>
                    <a:pt x="57" y="31"/>
                    <a:pt x="56" y="29"/>
                    <a:pt x="55" y="28"/>
                  </a:cubicBezTo>
                  <a:cubicBezTo>
                    <a:pt x="53" y="26"/>
                    <a:pt x="51" y="25"/>
                    <a:pt x="49" y="24"/>
                  </a:cubicBezTo>
                  <a:cubicBezTo>
                    <a:pt x="47" y="23"/>
                    <a:pt x="45" y="22"/>
                    <a:pt x="42" y="22"/>
                  </a:cubicBezTo>
                  <a:cubicBezTo>
                    <a:pt x="40" y="22"/>
                    <a:pt x="37" y="23"/>
                    <a:pt x="36" y="24"/>
                  </a:cubicBezTo>
                  <a:cubicBezTo>
                    <a:pt x="34" y="24"/>
                    <a:pt x="32" y="26"/>
                    <a:pt x="31" y="27"/>
                  </a:cubicBezTo>
                  <a:cubicBezTo>
                    <a:pt x="29" y="29"/>
                    <a:pt x="28" y="31"/>
                    <a:pt x="28" y="33"/>
                  </a:cubicBezTo>
                  <a:cubicBezTo>
                    <a:pt x="27" y="35"/>
                    <a:pt x="26" y="37"/>
                    <a:pt x="26" y="40"/>
                  </a:cubicBezTo>
                  <a:lnTo>
                    <a:pt x="59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93" name="Freeform 9">
              <a:extLst>
                <a:ext uri="{FF2B5EF4-FFF2-40B4-BE49-F238E27FC236}">
                  <a16:creationId xmlns:a16="http://schemas.microsoft.com/office/drawing/2014/main" id="{F4A1F26E-26EA-44D8-8D11-97229CEC2530}"/>
                </a:ext>
              </a:extLst>
            </p:cNvPr>
            <p:cNvSpPr>
              <a:spLocks/>
            </p:cNvSpPr>
            <p:nvPr/>
          </p:nvSpPr>
          <p:spPr bwMode="white">
            <a:xfrm>
              <a:off x="10035106" y="1431822"/>
              <a:ext cx="57529" cy="67989"/>
            </a:xfrm>
            <a:custGeom>
              <a:avLst/>
              <a:gdLst>
                <a:gd name="T0" fmla="*/ 58 w 84"/>
                <a:gd name="T1" fmla="*/ 97 h 99"/>
                <a:gd name="T2" fmla="*/ 58 w 84"/>
                <a:gd name="T3" fmla="*/ 91 h 99"/>
                <a:gd name="T4" fmla="*/ 49 w 84"/>
                <a:gd name="T5" fmla="*/ 97 h 99"/>
                <a:gd name="T6" fmla="*/ 35 w 84"/>
                <a:gd name="T7" fmla="*/ 99 h 99"/>
                <a:gd name="T8" fmla="*/ 9 w 84"/>
                <a:gd name="T9" fmla="*/ 88 h 99"/>
                <a:gd name="T10" fmla="*/ 0 w 84"/>
                <a:gd name="T11" fmla="*/ 55 h 99"/>
                <a:gd name="T12" fmla="*/ 0 w 84"/>
                <a:gd name="T13" fmla="*/ 0 h 99"/>
                <a:gd name="T14" fmla="*/ 25 w 84"/>
                <a:gd name="T15" fmla="*/ 0 h 99"/>
                <a:gd name="T16" fmla="*/ 25 w 84"/>
                <a:gd name="T17" fmla="*/ 52 h 99"/>
                <a:gd name="T18" fmla="*/ 29 w 84"/>
                <a:gd name="T19" fmla="*/ 70 h 99"/>
                <a:gd name="T20" fmla="*/ 42 w 84"/>
                <a:gd name="T21" fmla="*/ 75 h 99"/>
                <a:gd name="T22" fmla="*/ 54 w 84"/>
                <a:gd name="T23" fmla="*/ 70 h 99"/>
                <a:gd name="T24" fmla="*/ 58 w 84"/>
                <a:gd name="T25" fmla="*/ 53 h 99"/>
                <a:gd name="T26" fmla="*/ 58 w 84"/>
                <a:gd name="T27" fmla="*/ 0 h 99"/>
                <a:gd name="T28" fmla="*/ 84 w 84"/>
                <a:gd name="T29" fmla="*/ 0 h 99"/>
                <a:gd name="T30" fmla="*/ 84 w 84"/>
                <a:gd name="T31" fmla="*/ 97 h 99"/>
                <a:gd name="T32" fmla="*/ 58 w 84"/>
                <a:gd name="T33" fmla="*/ 97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4" h="99">
                  <a:moveTo>
                    <a:pt x="58" y="97"/>
                  </a:moveTo>
                  <a:cubicBezTo>
                    <a:pt x="58" y="91"/>
                    <a:pt x="58" y="91"/>
                    <a:pt x="58" y="91"/>
                  </a:cubicBezTo>
                  <a:cubicBezTo>
                    <a:pt x="56" y="93"/>
                    <a:pt x="53" y="95"/>
                    <a:pt x="49" y="97"/>
                  </a:cubicBezTo>
                  <a:cubicBezTo>
                    <a:pt x="45" y="98"/>
                    <a:pt x="41" y="99"/>
                    <a:pt x="35" y="99"/>
                  </a:cubicBezTo>
                  <a:cubicBezTo>
                    <a:pt x="24" y="99"/>
                    <a:pt x="15" y="95"/>
                    <a:pt x="9" y="88"/>
                  </a:cubicBezTo>
                  <a:cubicBezTo>
                    <a:pt x="3" y="80"/>
                    <a:pt x="0" y="69"/>
                    <a:pt x="0" y="5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52"/>
                    <a:pt x="25" y="52"/>
                    <a:pt x="25" y="52"/>
                  </a:cubicBezTo>
                  <a:cubicBezTo>
                    <a:pt x="25" y="60"/>
                    <a:pt x="26" y="66"/>
                    <a:pt x="29" y="70"/>
                  </a:cubicBezTo>
                  <a:cubicBezTo>
                    <a:pt x="31" y="73"/>
                    <a:pt x="36" y="75"/>
                    <a:pt x="42" y="75"/>
                  </a:cubicBezTo>
                  <a:cubicBezTo>
                    <a:pt x="48" y="75"/>
                    <a:pt x="52" y="73"/>
                    <a:pt x="54" y="70"/>
                  </a:cubicBezTo>
                  <a:cubicBezTo>
                    <a:pt x="57" y="66"/>
                    <a:pt x="58" y="60"/>
                    <a:pt x="58" y="53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97"/>
                    <a:pt x="84" y="97"/>
                    <a:pt x="84" y="97"/>
                  </a:cubicBezTo>
                  <a:lnTo>
                    <a:pt x="58" y="9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94" name="Freeform 10">
              <a:extLst>
                <a:ext uri="{FF2B5EF4-FFF2-40B4-BE49-F238E27FC236}">
                  <a16:creationId xmlns:a16="http://schemas.microsoft.com/office/drawing/2014/main" id="{45C1803D-4651-4E80-B712-F3F311657C4D}"/>
                </a:ext>
              </a:extLst>
            </p:cNvPr>
            <p:cNvSpPr>
              <a:spLocks/>
            </p:cNvSpPr>
            <p:nvPr/>
          </p:nvSpPr>
          <p:spPr bwMode="white">
            <a:xfrm>
              <a:off x="10104403" y="1406980"/>
              <a:ext cx="43148" cy="92832"/>
            </a:xfrm>
            <a:custGeom>
              <a:avLst/>
              <a:gdLst>
                <a:gd name="T0" fmla="*/ 62 w 65"/>
                <a:gd name="T1" fmla="*/ 131 h 137"/>
                <a:gd name="T2" fmla="*/ 53 w 65"/>
                <a:gd name="T3" fmla="*/ 135 h 137"/>
                <a:gd name="T4" fmla="*/ 42 w 65"/>
                <a:gd name="T5" fmla="*/ 137 h 137"/>
                <a:gd name="T6" fmla="*/ 31 w 65"/>
                <a:gd name="T7" fmla="*/ 135 h 137"/>
                <a:gd name="T8" fmla="*/ 23 w 65"/>
                <a:gd name="T9" fmla="*/ 129 h 137"/>
                <a:gd name="T10" fmla="*/ 18 w 65"/>
                <a:gd name="T11" fmla="*/ 120 h 137"/>
                <a:gd name="T12" fmla="*/ 16 w 65"/>
                <a:gd name="T13" fmla="*/ 108 h 137"/>
                <a:gd name="T14" fmla="*/ 16 w 65"/>
                <a:gd name="T15" fmla="*/ 62 h 137"/>
                <a:gd name="T16" fmla="*/ 0 w 65"/>
                <a:gd name="T17" fmla="*/ 62 h 137"/>
                <a:gd name="T18" fmla="*/ 0 w 65"/>
                <a:gd name="T19" fmla="*/ 38 h 137"/>
                <a:gd name="T20" fmla="*/ 16 w 65"/>
                <a:gd name="T21" fmla="*/ 38 h 137"/>
                <a:gd name="T22" fmla="*/ 16 w 65"/>
                <a:gd name="T23" fmla="*/ 13 h 137"/>
                <a:gd name="T24" fmla="*/ 42 w 65"/>
                <a:gd name="T25" fmla="*/ 0 h 137"/>
                <a:gd name="T26" fmla="*/ 42 w 65"/>
                <a:gd name="T27" fmla="*/ 38 h 137"/>
                <a:gd name="T28" fmla="*/ 65 w 65"/>
                <a:gd name="T29" fmla="*/ 38 h 137"/>
                <a:gd name="T30" fmla="*/ 65 w 65"/>
                <a:gd name="T31" fmla="*/ 62 h 137"/>
                <a:gd name="T32" fmla="*/ 42 w 65"/>
                <a:gd name="T33" fmla="*/ 62 h 137"/>
                <a:gd name="T34" fmla="*/ 42 w 65"/>
                <a:gd name="T35" fmla="*/ 101 h 137"/>
                <a:gd name="T36" fmla="*/ 42 w 65"/>
                <a:gd name="T37" fmla="*/ 107 h 137"/>
                <a:gd name="T38" fmla="*/ 44 w 65"/>
                <a:gd name="T39" fmla="*/ 110 h 137"/>
                <a:gd name="T40" fmla="*/ 47 w 65"/>
                <a:gd name="T41" fmla="*/ 112 h 137"/>
                <a:gd name="T42" fmla="*/ 51 w 65"/>
                <a:gd name="T43" fmla="*/ 113 h 137"/>
                <a:gd name="T44" fmla="*/ 58 w 65"/>
                <a:gd name="T45" fmla="*/ 111 h 137"/>
                <a:gd name="T46" fmla="*/ 65 w 65"/>
                <a:gd name="T47" fmla="*/ 105 h 137"/>
                <a:gd name="T48" fmla="*/ 62 w 65"/>
                <a:gd name="T49" fmla="*/ 131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5" h="137">
                  <a:moveTo>
                    <a:pt x="62" y="131"/>
                  </a:moveTo>
                  <a:cubicBezTo>
                    <a:pt x="60" y="133"/>
                    <a:pt x="57" y="134"/>
                    <a:pt x="53" y="135"/>
                  </a:cubicBezTo>
                  <a:cubicBezTo>
                    <a:pt x="50" y="137"/>
                    <a:pt x="46" y="137"/>
                    <a:pt x="42" y="137"/>
                  </a:cubicBezTo>
                  <a:cubicBezTo>
                    <a:pt x="38" y="137"/>
                    <a:pt x="34" y="136"/>
                    <a:pt x="31" y="135"/>
                  </a:cubicBezTo>
                  <a:cubicBezTo>
                    <a:pt x="28" y="134"/>
                    <a:pt x="25" y="132"/>
                    <a:pt x="23" y="129"/>
                  </a:cubicBezTo>
                  <a:cubicBezTo>
                    <a:pt x="21" y="126"/>
                    <a:pt x="19" y="123"/>
                    <a:pt x="18" y="120"/>
                  </a:cubicBezTo>
                  <a:cubicBezTo>
                    <a:pt x="17" y="116"/>
                    <a:pt x="16" y="112"/>
                    <a:pt x="16" y="108"/>
                  </a:cubicBezTo>
                  <a:cubicBezTo>
                    <a:pt x="16" y="62"/>
                    <a:pt x="16" y="62"/>
                    <a:pt x="16" y="62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38"/>
                    <a:pt x="42" y="38"/>
                    <a:pt x="42" y="38"/>
                  </a:cubicBezTo>
                  <a:cubicBezTo>
                    <a:pt x="65" y="38"/>
                    <a:pt x="65" y="38"/>
                    <a:pt x="65" y="38"/>
                  </a:cubicBezTo>
                  <a:cubicBezTo>
                    <a:pt x="65" y="62"/>
                    <a:pt x="65" y="62"/>
                    <a:pt x="65" y="62"/>
                  </a:cubicBezTo>
                  <a:cubicBezTo>
                    <a:pt x="42" y="62"/>
                    <a:pt x="42" y="62"/>
                    <a:pt x="42" y="62"/>
                  </a:cubicBezTo>
                  <a:cubicBezTo>
                    <a:pt x="42" y="101"/>
                    <a:pt x="42" y="101"/>
                    <a:pt x="42" y="101"/>
                  </a:cubicBezTo>
                  <a:cubicBezTo>
                    <a:pt x="42" y="103"/>
                    <a:pt x="42" y="105"/>
                    <a:pt x="42" y="107"/>
                  </a:cubicBezTo>
                  <a:cubicBezTo>
                    <a:pt x="43" y="108"/>
                    <a:pt x="43" y="110"/>
                    <a:pt x="44" y="110"/>
                  </a:cubicBezTo>
                  <a:cubicBezTo>
                    <a:pt x="45" y="111"/>
                    <a:pt x="46" y="112"/>
                    <a:pt x="47" y="112"/>
                  </a:cubicBezTo>
                  <a:cubicBezTo>
                    <a:pt x="48" y="113"/>
                    <a:pt x="49" y="113"/>
                    <a:pt x="51" y="113"/>
                  </a:cubicBezTo>
                  <a:cubicBezTo>
                    <a:pt x="53" y="113"/>
                    <a:pt x="55" y="112"/>
                    <a:pt x="58" y="111"/>
                  </a:cubicBezTo>
                  <a:cubicBezTo>
                    <a:pt x="60" y="110"/>
                    <a:pt x="62" y="108"/>
                    <a:pt x="65" y="105"/>
                  </a:cubicBezTo>
                  <a:lnTo>
                    <a:pt x="62" y="13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95" name="Freeform 11">
              <a:extLst>
                <a:ext uri="{FF2B5EF4-FFF2-40B4-BE49-F238E27FC236}">
                  <a16:creationId xmlns:a16="http://schemas.microsoft.com/office/drawing/2014/main" id="{711CC3A8-EDFC-4EAE-A2DC-ACDC3B1D9DEB}"/>
                </a:ext>
              </a:extLst>
            </p:cNvPr>
            <p:cNvSpPr>
              <a:spLocks/>
            </p:cNvSpPr>
            <p:nvPr/>
          </p:nvSpPr>
          <p:spPr bwMode="white">
            <a:xfrm>
              <a:off x="10160625" y="1430515"/>
              <a:ext cx="56222" cy="69297"/>
            </a:xfrm>
            <a:custGeom>
              <a:avLst/>
              <a:gdLst>
                <a:gd name="T0" fmla="*/ 78 w 81"/>
                <a:gd name="T1" fmla="*/ 9 h 101"/>
                <a:gd name="T2" fmla="*/ 70 w 81"/>
                <a:gd name="T3" fmla="*/ 30 h 101"/>
                <a:gd name="T4" fmla="*/ 55 w 81"/>
                <a:gd name="T5" fmla="*/ 24 h 101"/>
                <a:gd name="T6" fmla="*/ 41 w 81"/>
                <a:gd name="T7" fmla="*/ 22 h 101"/>
                <a:gd name="T8" fmla="*/ 31 w 81"/>
                <a:gd name="T9" fmla="*/ 23 h 101"/>
                <a:gd name="T10" fmla="*/ 28 w 81"/>
                <a:gd name="T11" fmla="*/ 28 h 101"/>
                <a:gd name="T12" fmla="*/ 29 w 81"/>
                <a:gd name="T13" fmla="*/ 31 h 101"/>
                <a:gd name="T14" fmla="*/ 32 w 81"/>
                <a:gd name="T15" fmla="*/ 33 h 101"/>
                <a:gd name="T16" fmla="*/ 38 w 81"/>
                <a:gd name="T17" fmla="*/ 36 h 101"/>
                <a:gd name="T18" fmla="*/ 48 w 81"/>
                <a:gd name="T19" fmla="*/ 39 h 101"/>
                <a:gd name="T20" fmla="*/ 61 w 81"/>
                <a:gd name="T21" fmla="*/ 44 h 101"/>
                <a:gd name="T22" fmla="*/ 71 w 81"/>
                <a:gd name="T23" fmla="*/ 50 h 101"/>
                <a:gd name="T24" fmla="*/ 78 w 81"/>
                <a:gd name="T25" fmla="*/ 59 h 101"/>
                <a:gd name="T26" fmla="*/ 81 w 81"/>
                <a:gd name="T27" fmla="*/ 71 h 101"/>
                <a:gd name="T28" fmla="*/ 78 w 81"/>
                <a:gd name="T29" fmla="*/ 85 h 101"/>
                <a:gd name="T30" fmla="*/ 69 w 81"/>
                <a:gd name="T31" fmla="*/ 94 h 101"/>
                <a:gd name="T32" fmla="*/ 57 w 81"/>
                <a:gd name="T33" fmla="*/ 100 h 101"/>
                <a:gd name="T34" fmla="*/ 41 w 81"/>
                <a:gd name="T35" fmla="*/ 101 h 101"/>
                <a:gd name="T36" fmla="*/ 19 w 81"/>
                <a:gd name="T37" fmla="*/ 98 h 101"/>
                <a:gd name="T38" fmla="*/ 0 w 81"/>
                <a:gd name="T39" fmla="*/ 90 h 101"/>
                <a:gd name="T40" fmla="*/ 9 w 81"/>
                <a:gd name="T41" fmla="*/ 70 h 101"/>
                <a:gd name="T42" fmla="*/ 25 w 81"/>
                <a:gd name="T43" fmla="*/ 77 h 101"/>
                <a:gd name="T44" fmla="*/ 43 w 81"/>
                <a:gd name="T45" fmla="*/ 79 h 101"/>
                <a:gd name="T46" fmla="*/ 53 w 81"/>
                <a:gd name="T47" fmla="*/ 78 h 101"/>
                <a:gd name="T48" fmla="*/ 56 w 81"/>
                <a:gd name="T49" fmla="*/ 72 h 101"/>
                <a:gd name="T50" fmla="*/ 55 w 81"/>
                <a:gd name="T51" fmla="*/ 69 h 101"/>
                <a:gd name="T52" fmla="*/ 53 w 81"/>
                <a:gd name="T53" fmla="*/ 67 h 101"/>
                <a:gd name="T54" fmla="*/ 48 w 81"/>
                <a:gd name="T55" fmla="*/ 64 h 101"/>
                <a:gd name="T56" fmla="*/ 41 w 81"/>
                <a:gd name="T57" fmla="*/ 62 h 101"/>
                <a:gd name="T58" fmla="*/ 26 w 81"/>
                <a:gd name="T59" fmla="*/ 57 h 101"/>
                <a:gd name="T60" fmla="*/ 13 w 81"/>
                <a:gd name="T61" fmla="*/ 51 h 101"/>
                <a:gd name="T62" fmla="*/ 6 w 81"/>
                <a:gd name="T63" fmla="*/ 42 h 101"/>
                <a:gd name="T64" fmla="*/ 3 w 81"/>
                <a:gd name="T65" fmla="*/ 29 h 101"/>
                <a:gd name="T66" fmla="*/ 6 w 81"/>
                <a:gd name="T67" fmla="*/ 16 h 101"/>
                <a:gd name="T68" fmla="*/ 14 w 81"/>
                <a:gd name="T69" fmla="*/ 7 h 101"/>
                <a:gd name="T70" fmla="*/ 26 w 81"/>
                <a:gd name="T71" fmla="*/ 2 h 101"/>
                <a:gd name="T72" fmla="*/ 42 w 81"/>
                <a:gd name="T73" fmla="*/ 0 h 101"/>
                <a:gd name="T74" fmla="*/ 61 w 81"/>
                <a:gd name="T75" fmla="*/ 3 h 101"/>
                <a:gd name="T76" fmla="*/ 78 w 81"/>
                <a:gd name="T77" fmla="*/ 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81" h="101">
                  <a:moveTo>
                    <a:pt x="78" y="9"/>
                  </a:moveTo>
                  <a:cubicBezTo>
                    <a:pt x="70" y="30"/>
                    <a:pt x="70" y="30"/>
                    <a:pt x="70" y="30"/>
                  </a:cubicBezTo>
                  <a:cubicBezTo>
                    <a:pt x="65" y="27"/>
                    <a:pt x="60" y="25"/>
                    <a:pt x="55" y="24"/>
                  </a:cubicBezTo>
                  <a:cubicBezTo>
                    <a:pt x="50" y="22"/>
                    <a:pt x="45" y="22"/>
                    <a:pt x="41" y="22"/>
                  </a:cubicBezTo>
                  <a:cubicBezTo>
                    <a:pt x="37" y="22"/>
                    <a:pt x="34" y="22"/>
                    <a:pt x="31" y="23"/>
                  </a:cubicBezTo>
                  <a:cubicBezTo>
                    <a:pt x="29" y="24"/>
                    <a:pt x="28" y="26"/>
                    <a:pt x="28" y="28"/>
                  </a:cubicBezTo>
                  <a:cubicBezTo>
                    <a:pt x="28" y="29"/>
                    <a:pt x="29" y="30"/>
                    <a:pt x="29" y="31"/>
                  </a:cubicBezTo>
                  <a:cubicBezTo>
                    <a:pt x="29" y="32"/>
                    <a:pt x="30" y="32"/>
                    <a:pt x="32" y="33"/>
                  </a:cubicBezTo>
                  <a:cubicBezTo>
                    <a:pt x="33" y="34"/>
                    <a:pt x="35" y="35"/>
                    <a:pt x="38" y="36"/>
                  </a:cubicBezTo>
                  <a:cubicBezTo>
                    <a:pt x="41" y="37"/>
                    <a:pt x="44" y="38"/>
                    <a:pt x="48" y="39"/>
                  </a:cubicBezTo>
                  <a:cubicBezTo>
                    <a:pt x="53" y="41"/>
                    <a:pt x="57" y="42"/>
                    <a:pt x="61" y="44"/>
                  </a:cubicBezTo>
                  <a:cubicBezTo>
                    <a:pt x="65" y="46"/>
                    <a:pt x="68" y="48"/>
                    <a:pt x="71" y="50"/>
                  </a:cubicBezTo>
                  <a:cubicBezTo>
                    <a:pt x="74" y="52"/>
                    <a:pt x="76" y="55"/>
                    <a:pt x="78" y="59"/>
                  </a:cubicBezTo>
                  <a:cubicBezTo>
                    <a:pt x="80" y="62"/>
                    <a:pt x="81" y="66"/>
                    <a:pt x="81" y="71"/>
                  </a:cubicBezTo>
                  <a:cubicBezTo>
                    <a:pt x="81" y="76"/>
                    <a:pt x="80" y="81"/>
                    <a:pt x="78" y="85"/>
                  </a:cubicBezTo>
                  <a:cubicBezTo>
                    <a:pt x="76" y="89"/>
                    <a:pt x="73" y="92"/>
                    <a:pt x="69" y="94"/>
                  </a:cubicBezTo>
                  <a:cubicBezTo>
                    <a:pt x="66" y="97"/>
                    <a:pt x="61" y="98"/>
                    <a:pt x="57" y="100"/>
                  </a:cubicBezTo>
                  <a:cubicBezTo>
                    <a:pt x="52" y="101"/>
                    <a:pt x="47" y="101"/>
                    <a:pt x="41" y="101"/>
                  </a:cubicBezTo>
                  <a:cubicBezTo>
                    <a:pt x="34" y="101"/>
                    <a:pt x="26" y="100"/>
                    <a:pt x="19" y="98"/>
                  </a:cubicBezTo>
                  <a:cubicBezTo>
                    <a:pt x="12" y="96"/>
                    <a:pt x="6" y="93"/>
                    <a:pt x="0" y="90"/>
                  </a:cubicBezTo>
                  <a:cubicBezTo>
                    <a:pt x="9" y="70"/>
                    <a:pt x="9" y="70"/>
                    <a:pt x="9" y="70"/>
                  </a:cubicBezTo>
                  <a:cubicBezTo>
                    <a:pt x="14" y="73"/>
                    <a:pt x="20" y="76"/>
                    <a:pt x="25" y="77"/>
                  </a:cubicBezTo>
                  <a:cubicBezTo>
                    <a:pt x="31" y="79"/>
                    <a:pt x="36" y="79"/>
                    <a:pt x="43" y="79"/>
                  </a:cubicBezTo>
                  <a:cubicBezTo>
                    <a:pt x="47" y="79"/>
                    <a:pt x="51" y="79"/>
                    <a:pt x="53" y="78"/>
                  </a:cubicBezTo>
                  <a:cubicBezTo>
                    <a:pt x="55" y="76"/>
                    <a:pt x="56" y="75"/>
                    <a:pt x="56" y="72"/>
                  </a:cubicBezTo>
                  <a:cubicBezTo>
                    <a:pt x="56" y="71"/>
                    <a:pt x="55" y="70"/>
                    <a:pt x="55" y="69"/>
                  </a:cubicBezTo>
                  <a:cubicBezTo>
                    <a:pt x="54" y="68"/>
                    <a:pt x="54" y="67"/>
                    <a:pt x="53" y="67"/>
                  </a:cubicBezTo>
                  <a:cubicBezTo>
                    <a:pt x="51" y="66"/>
                    <a:pt x="50" y="65"/>
                    <a:pt x="48" y="64"/>
                  </a:cubicBezTo>
                  <a:cubicBezTo>
                    <a:pt x="46" y="64"/>
                    <a:pt x="44" y="63"/>
                    <a:pt x="41" y="62"/>
                  </a:cubicBezTo>
                  <a:cubicBezTo>
                    <a:pt x="36" y="60"/>
                    <a:pt x="30" y="59"/>
                    <a:pt x="26" y="57"/>
                  </a:cubicBezTo>
                  <a:cubicBezTo>
                    <a:pt x="21" y="55"/>
                    <a:pt x="17" y="53"/>
                    <a:pt x="13" y="51"/>
                  </a:cubicBezTo>
                  <a:cubicBezTo>
                    <a:pt x="10" y="48"/>
                    <a:pt x="8" y="45"/>
                    <a:pt x="6" y="42"/>
                  </a:cubicBezTo>
                  <a:cubicBezTo>
                    <a:pt x="4" y="38"/>
                    <a:pt x="3" y="34"/>
                    <a:pt x="3" y="29"/>
                  </a:cubicBezTo>
                  <a:cubicBezTo>
                    <a:pt x="3" y="24"/>
                    <a:pt x="4" y="19"/>
                    <a:pt x="6" y="16"/>
                  </a:cubicBezTo>
                  <a:cubicBezTo>
                    <a:pt x="8" y="12"/>
                    <a:pt x="10" y="9"/>
                    <a:pt x="14" y="7"/>
                  </a:cubicBezTo>
                  <a:cubicBezTo>
                    <a:pt x="17" y="4"/>
                    <a:pt x="21" y="3"/>
                    <a:pt x="26" y="2"/>
                  </a:cubicBezTo>
                  <a:cubicBezTo>
                    <a:pt x="31" y="0"/>
                    <a:pt x="36" y="0"/>
                    <a:pt x="42" y="0"/>
                  </a:cubicBezTo>
                  <a:cubicBezTo>
                    <a:pt x="48" y="0"/>
                    <a:pt x="54" y="1"/>
                    <a:pt x="61" y="3"/>
                  </a:cubicBezTo>
                  <a:cubicBezTo>
                    <a:pt x="67" y="4"/>
                    <a:pt x="73" y="7"/>
                    <a:pt x="78" y="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96" name="Freeform 12">
              <a:extLst>
                <a:ext uri="{FF2B5EF4-FFF2-40B4-BE49-F238E27FC236}">
                  <a16:creationId xmlns:a16="http://schemas.microsoft.com/office/drawing/2014/main" id="{C17A032D-DB72-46B0-B4C8-EE8C8CC504F2}"/>
                </a:ext>
              </a:extLst>
            </p:cNvPr>
            <p:cNvSpPr>
              <a:spLocks/>
            </p:cNvSpPr>
            <p:nvPr/>
          </p:nvSpPr>
          <p:spPr bwMode="white">
            <a:xfrm>
              <a:off x="10226000" y="1430515"/>
              <a:ext cx="58837" cy="69297"/>
            </a:xfrm>
            <a:custGeom>
              <a:avLst/>
              <a:gdLst>
                <a:gd name="T0" fmla="*/ 85 w 85"/>
                <a:gd name="T1" fmla="*/ 80 h 101"/>
                <a:gd name="T2" fmla="*/ 77 w 85"/>
                <a:gd name="T3" fmla="*/ 88 h 101"/>
                <a:gd name="T4" fmla="*/ 69 w 85"/>
                <a:gd name="T5" fmla="*/ 95 h 101"/>
                <a:gd name="T6" fmla="*/ 58 w 85"/>
                <a:gd name="T7" fmla="*/ 100 h 101"/>
                <a:gd name="T8" fmla="*/ 45 w 85"/>
                <a:gd name="T9" fmla="*/ 101 h 101"/>
                <a:gd name="T10" fmla="*/ 27 w 85"/>
                <a:gd name="T11" fmla="*/ 98 h 101"/>
                <a:gd name="T12" fmla="*/ 13 w 85"/>
                <a:gd name="T13" fmla="*/ 87 h 101"/>
                <a:gd name="T14" fmla="*/ 3 w 85"/>
                <a:gd name="T15" fmla="*/ 71 h 101"/>
                <a:gd name="T16" fmla="*/ 0 w 85"/>
                <a:gd name="T17" fmla="*/ 51 h 101"/>
                <a:gd name="T18" fmla="*/ 3 w 85"/>
                <a:gd name="T19" fmla="*/ 30 h 101"/>
                <a:gd name="T20" fmla="*/ 13 w 85"/>
                <a:gd name="T21" fmla="*/ 14 h 101"/>
                <a:gd name="T22" fmla="*/ 28 w 85"/>
                <a:gd name="T23" fmla="*/ 4 h 101"/>
                <a:gd name="T24" fmla="*/ 46 w 85"/>
                <a:gd name="T25" fmla="*/ 0 h 101"/>
                <a:gd name="T26" fmla="*/ 68 w 85"/>
                <a:gd name="T27" fmla="*/ 5 h 101"/>
                <a:gd name="T28" fmla="*/ 85 w 85"/>
                <a:gd name="T29" fmla="*/ 21 h 101"/>
                <a:gd name="T30" fmla="*/ 68 w 85"/>
                <a:gd name="T31" fmla="*/ 38 h 101"/>
                <a:gd name="T32" fmla="*/ 63 w 85"/>
                <a:gd name="T33" fmla="*/ 33 h 101"/>
                <a:gd name="T34" fmla="*/ 58 w 85"/>
                <a:gd name="T35" fmla="*/ 28 h 101"/>
                <a:gd name="T36" fmla="*/ 53 w 85"/>
                <a:gd name="T37" fmla="*/ 26 h 101"/>
                <a:gd name="T38" fmla="*/ 46 w 85"/>
                <a:gd name="T39" fmla="*/ 25 h 101"/>
                <a:gd name="T40" fmla="*/ 37 w 85"/>
                <a:gd name="T41" fmla="*/ 26 h 101"/>
                <a:gd name="T42" fmla="*/ 31 w 85"/>
                <a:gd name="T43" fmla="*/ 32 h 101"/>
                <a:gd name="T44" fmla="*/ 27 w 85"/>
                <a:gd name="T45" fmla="*/ 40 h 101"/>
                <a:gd name="T46" fmla="*/ 26 w 85"/>
                <a:gd name="T47" fmla="*/ 51 h 101"/>
                <a:gd name="T48" fmla="*/ 27 w 85"/>
                <a:gd name="T49" fmla="*/ 61 h 101"/>
                <a:gd name="T50" fmla="*/ 31 w 85"/>
                <a:gd name="T51" fmla="*/ 69 h 101"/>
                <a:gd name="T52" fmla="*/ 37 w 85"/>
                <a:gd name="T53" fmla="*/ 75 h 101"/>
                <a:gd name="T54" fmla="*/ 46 w 85"/>
                <a:gd name="T55" fmla="*/ 77 h 101"/>
                <a:gd name="T56" fmla="*/ 52 w 85"/>
                <a:gd name="T57" fmla="*/ 76 h 101"/>
                <a:gd name="T58" fmla="*/ 58 w 85"/>
                <a:gd name="T59" fmla="*/ 73 h 101"/>
                <a:gd name="T60" fmla="*/ 64 w 85"/>
                <a:gd name="T61" fmla="*/ 69 h 101"/>
                <a:gd name="T62" fmla="*/ 69 w 85"/>
                <a:gd name="T63" fmla="*/ 64 h 101"/>
                <a:gd name="T64" fmla="*/ 85 w 85"/>
                <a:gd name="T65" fmla="*/ 8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5" h="101">
                  <a:moveTo>
                    <a:pt x="85" y="80"/>
                  </a:moveTo>
                  <a:cubicBezTo>
                    <a:pt x="83" y="83"/>
                    <a:pt x="80" y="86"/>
                    <a:pt x="77" y="88"/>
                  </a:cubicBezTo>
                  <a:cubicBezTo>
                    <a:pt x="75" y="91"/>
                    <a:pt x="72" y="93"/>
                    <a:pt x="69" y="95"/>
                  </a:cubicBezTo>
                  <a:cubicBezTo>
                    <a:pt x="65" y="97"/>
                    <a:pt x="62" y="98"/>
                    <a:pt x="58" y="100"/>
                  </a:cubicBezTo>
                  <a:cubicBezTo>
                    <a:pt x="54" y="101"/>
                    <a:pt x="50" y="101"/>
                    <a:pt x="45" y="101"/>
                  </a:cubicBezTo>
                  <a:cubicBezTo>
                    <a:pt x="39" y="101"/>
                    <a:pt x="33" y="100"/>
                    <a:pt x="27" y="98"/>
                  </a:cubicBezTo>
                  <a:cubicBezTo>
                    <a:pt x="22" y="95"/>
                    <a:pt x="17" y="92"/>
                    <a:pt x="13" y="87"/>
                  </a:cubicBezTo>
                  <a:cubicBezTo>
                    <a:pt x="9" y="83"/>
                    <a:pt x="5" y="77"/>
                    <a:pt x="3" y="71"/>
                  </a:cubicBezTo>
                  <a:cubicBezTo>
                    <a:pt x="1" y="65"/>
                    <a:pt x="0" y="58"/>
                    <a:pt x="0" y="51"/>
                  </a:cubicBezTo>
                  <a:cubicBezTo>
                    <a:pt x="0" y="43"/>
                    <a:pt x="1" y="36"/>
                    <a:pt x="3" y="30"/>
                  </a:cubicBezTo>
                  <a:cubicBezTo>
                    <a:pt x="5" y="24"/>
                    <a:pt x="9" y="19"/>
                    <a:pt x="13" y="14"/>
                  </a:cubicBezTo>
                  <a:cubicBezTo>
                    <a:pt x="17" y="10"/>
                    <a:pt x="22" y="6"/>
                    <a:pt x="28" y="4"/>
                  </a:cubicBezTo>
                  <a:cubicBezTo>
                    <a:pt x="33" y="1"/>
                    <a:pt x="39" y="0"/>
                    <a:pt x="46" y="0"/>
                  </a:cubicBezTo>
                  <a:cubicBezTo>
                    <a:pt x="54" y="0"/>
                    <a:pt x="62" y="2"/>
                    <a:pt x="68" y="5"/>
                  </a:cubicBezTo>
                  <a:cubicBezTo>
                    <a:pt x="74" y="9"/>
                    <a:pt x="80" y="14"/>
                    <a:pt x="85" y="21"/>
                  </a:cubicBezTo>
                  <a:cubicBezTo>
                    <a:pt x="68" y="38"/>
                    <a:pt x="68" y="38"/>
                    <a:pt x="68" y="38"/>
                  </a:cubicBezTo>
                  <a:cubicBezTo>
                    <a:pt x="66" y="36"/>
                    <a:pt x="65" y="35"/>
                    <a:pt x="63" y="33"/>
                  </a:cubicBezTo>
                  <a:cubicBezTo>
                    <a:pt x="62" y="31"/>
                    <a:pt x="60" y="30"/>
                    <a:pt x="58" y="28"/>
                  </a:cubicBezTo>
                  <a:cubicBezTo>
                    <a:pt x="57" y="27"/>
                    <a:pt x="55" y="26"/>
                    <a:pt x="53" y="26"/>
                  </a:cubicBezTo>
                  <a:cubicBezTo>
                    <a:pt x="51" y="25"/>
                    <a:pt x="48" y="25"/>
                    <a:pt x="46" y="25"/>
                  </a:cubicBezTo>
                  <a:cubicBezTo>
                    <a:pt x="43" y="25"/>
                    <a:pt x="40" y="25"/>
                    <a:pt x="37" y="26"/>
                  </a:cubicBezTo>
                  <a:cubicBezTo>
                    <a:pt x="35" y="28"/>
                    <a:pt x="33" y="29"/>
                    <a:pt x="31" y="32"/>
                  </a:cubicBezTo>
                  <a:cubicBezTo>
                    <a:pt x="29" y="34"/>
                    <a:pt x="28" y="37"/>
                    <a:pt x="27" y="40"/>
                  </a:cubicBezTo>
                  <a:cubicBezTo>
                    <a:pt x="26" y="43"/>
                    <a:pt x="26" y="47"/>
                    <a:pt x="26" y="51"/>
                  </a:cubicBezTo>
                  <a:cubicBezTo>
                    <a:pt x="26" y="55"/>
                    <a:pt x="26" y="58"/>
                    <a:pt x="27" y="61"/>
                  </a:cubicBezTo>
                  <a:cubicBezTo>
                    <a:pt x="28" y="64"/>
                    <a:pt x="29" y="67"/>
                    <a:pt x="31" y="69"/>
                  </a:cubicBezTo>
                  <a:cubicBezTo>
                    <a:pt x="33" y="72"/>
                    <a:pt x="35" y="73"/>
                    <a:pt x="37" y="75"/>
                  </a:cubicBezTo>
                  <a:cubicBezTo>
                    <a:pt x="40" y="76"/>
                    <a:pt x="43" y="77"/>
                    <a:pt x="46" y="77"/>
                  </a:cubicBezTo>
                  <a:cubicBezTo>
                    <a:pt x="48" y="77"/>
                    <a:pt x="50" y="76"/>
                    <a:pt x="52" y="76"/>
                  </a:cubicBezTo>
                  <a:cubicBezTo>
                    <a:pt x="55" y="75"/>
                    <a:pt x="57" y="74"/>
                    <a:pt x="58" y="73"/>
                  </a:cubicBezTo>
                  <a:cubicBezTo>
                    <a:pt x="60" y="72"/>
                    <a:pt x="62" y="71"/>
                    <a:pt x="64" y="69"/>
                  </a:cubicBezTo>
                  <a:cubicBezTo>
                    <a:pt x="65" y="68"/>
                    <a:pt x="67" y="66"/>
                    <a:pt x="69" y="64"/>
                  </a:cubicBezTo>
                  <a:lnTo>
                    <a:pt x="85" y="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97" name="Freeform 13">
              <a:extLst>
                <a:ext uri="{FF2B5EF4-FFF2-40B4-BE49-F238E27FC236}">
                  <a16:creationId xmlns:a16="http://schemas.microsoft.com/office/drawing/2014/main" id="{2280FDE2-015D-4B7A-8900-05F5FB783060}"/>
                </a:ext>
              </a:extLst>
            </p:cNvPr>
            <p:cNvSpPr>
              <a:spLocks/>
            </p:cNvSpPr>
            <p:nvPr/>
          </p:nvSpPr>
          <p:spPr bwMode="white">
            <a:xfrm>
              <a:off x="10297911" y="1406980"/>
              <a:ext cx="57529" cy="91524"/>
            </a:xfrm>
            <a:custGeom>
              <a:avLst/>
              <a:gdLst>
                <a:gd name="T0" fmla="*/ 59 w 84"/>
                <a:gd name="T1" fmla="*/ 135 h 135"/>
                <a:gd name="T2" fmla="*/ 59 w 84"/>
                <a:gd name="T3" fmla="*/ 83 h 135"/>
                <a:gd name="T4" fmla="*/ 55 w 84"/>
                <a:gd name="T5" fmla="*/ 66 h 135"/>
                <a:gd name="T6" fmla="*/ 42 w 84"/>
                <a:gd name="T7" fmla="*/ 60 h 135"/>
                <a:gd name="T8" fmla="*/ 35 w 84"/>
                <a:gd name="T9" fmla="*/ 61 h 135"/>
                <a:gd name="T10" fmla="*/ 30 w 84"/>
                <a:gd name="T11" fmla="*/ 65 h 135"/>
                <a:gd name="T12" fmla="*/ 27 w 84"/>
                <a:gd name="T13" fmla="*/ 71 h 135"/>
                <a:gd name="T14" fmla="*/ 25 w 84"/>
                <a:gd name="T15" fmla="*/ 82 h 135"/>
                <a:gd name="T16" fmla="*/ 25 w 84"/>
                <a:gd name="T17" fmla="*/ 135 h 135"/>
                <a:gd name="T18" fmla="*/ 0 w 84"/>
                <a:gd name="T19" fmla="*/ 135 h 135"/>
                <a:gd name="T20" fmla="*/ 0 w 84"/>
                <a:gd name="T21" fmla="*/ 13 h 135"/>
                <a:gd name="T22" fmla="*/ 25 w 84"/>
                <a:gd name="T23" fmla="*/ 0 h 135"/>
                <a:gd name="T24" fmla="*/ 25 w 84"/>
                <a:gd name="T25" fmla="*/ 44 h 135"/>
                <a:gd name="T26" fmla="*/ 29 w 84"/>
                <a:gd name="T27" fmla="*/ 41 h 135"/>
                <a:gd name="T28" fmla="*/ 35 w 84"/>
                <a:gd name="T29" fmla="*/ 38 h 135"/>
                <a:gd name="T30" fmla="*/ 41 w 84"/>
                <a:gd name="T31" fmla="*/ 37 h 135"/>
                <a:gd name="T32" fmla="*/ 48 w 84"/>
                <a:gd name="T33" fmla="*/ 36 h 135"/>
                <a:gd name="T34" fmla="*/ 64 w 84"/>
                <a:gd name="T35" fmla="*/ 39 h 135"/>
                <a:gd name="T36" fmla="*/ 75 w 84"/>
                <a:gd name="T37" fmla="*/ 48 h 135"/>
                <a:gd name="T38" fmla="*/ 82 w 84"/>
                <a:gd name="T39" fmla="*/ 62 h 135"/>
                <a:gd name="T40" fmla="*/ 84 w 84"/>
                <a:gd name="T41" fmla="*/ 80 h 135"/>
                <a:gd name="T42" fmla="*/ 84 w 84"/>
                <a:gd name="T43" fmla="*/ 135 h 135"/>
                <a:gd name="T44" fmla="*/ 59 w 84"/>
                <a:gd name="T45" fmla="*/ 135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4" h="135">
                  <a:moveTo>
                    <a:pt x="59" y="135"/>
                  </a:moveTo>
                  <a:cubicBezTo>
                    <a:pt x="59" y="83"/>
                    <a:pt x="59" y="83"/>
                    <a:pt x="59" y="83"/>
                  </a:cubicBezTo>
                  <a:cubicBezTo>
                    <a:pt x="59" y="75"/>
                    <a:pt x="57" y="69"/>
                    <a:pt x="55" y="66"/>
                  </a:cubicBezTo>
                  <a:cubicBezTo>
                    <a:pt x="52" y="62"/>
                    <a:pt x="48" y="60"/>
                    <a:pt x="42" y="60"/>
                  </a:cubicBezTo>
                  <a:cubicBezTo>
                    <a:pt x="39" y="60"/>
                    <a:pt x="37" y="60"/>
                    <a:pt x="35" y="61"/>
                  </a:cubicBezTo>
                  <a:cubicBezTo>
                    <a:pt x="33" y="62"/>
                    <a:pt x="31" y="63"/>
                    <a:pt x="30" y="65"/>
                  </a:cubicBezTo>
                  <a:cubicBezTo>
                    <a:pt x="28" y="66"/>
                    <a:pt x="27" y="69"/>
                    <a:pt x="27" y="71"/>
                  </a:cubicBezTo>
                  <a:cubicBezTo>
                    <a:pt x="26" y="74"/>
                    <a:pt x="25" y="78"/>
                    <a:pt x="25" y="82"/>
                  </a:cubicBezTo>
                  <a:cubicBezTo>
                    <a:pt x="25" y="135"/>
                    <a:pt x="25" y="135"/>
                    <a:pt x="25" y="135"/>
                  </a:cubicBezTo>
                  <a:cubicBezTo>
                    <a:pt x="0" y="135"/>
                    <a:pt x="0" y="135"/>
                    <a:pt x="0" y="135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44"/>
                    <a:pt x="25" y="44"/>
                    <a:pt x="25" y="44"/>
                  </a:cubicBezTo>
                  <a:cubicBezTo>
                    <a:pt x="27" y="43"/>
                    <a:pt x="28" y="42"/>
                    <a:pt x="29" y="41"/>
                  </a:cubicBezTo>
                  <a:cubicBezTo>
                    <a:pt x="31" y="40"/>
                    <a:pt x="33" y="39"/>
                    <a:pt x="35" y="38"/>
                  </a:cubicBezTo>
                  <a:cubicBezTo>
                    <a:pt x="37" y="38"/>
                    <a:pt x="39" y="37"/>
                    <a:pt x="41" y="37"/>
                  </a:cubicBezTo>
                  <a:cubicBezTo>
                    <a:pt x="43" y="36"/>
                    <a:pt x="46" y="36"/>
                    <a:pt x="48" y="36"/>
                  </a:cubicBezTo>
                  <a:cubicBezTo>
                    <a:pt x="54" y="36"/>
                    <a:pt x="60" y="37"/>
                    <a:pt x="64" y="39"/>
                  </a:cubicBezTo>
                  <a:cubicBezTo>
                    <a:pt x="69" y="41"/>
                    <a:pt x="73" y="44"/>
                    <a:pt x="75" y="48"/>
                  </a:cubicBezTo>
                  <a:cubicBezTo>
                    <a:pt x="78" y="52"/>
                    <a:pt x="81" y="56"/>
                    <a:pt x="82" y="62"/>
                  </a:cubicBezTo>
                  <a:cubicBezTo>
                    <a:pt x="83" y="67"/>
                    <a:pt x="84" y="74"/>
                    <a:pt x="84" y="80"/>
                  </a:cubicBezTo>
                  <a:cubicBezTo>
                    <a:pt x="84" y="135"/>
                    <a:pt x="84" y="135"/>
                    <a:pt x="84" y="135"/>
                  </a:cubicBezTo>
                  <a:lnTo>
                    <a:pt x="59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98" name="Freeform 14">
              <a:extLst>
                <a:ext uri="{FF2B5EF4-FFF2-40B4-BE49-F238E27FC236}">
                  <a16:creationId xmlns:a16="http://schemas.microsoft.com/office/drawing/2014/main" id="{D3D1BB3D-6AD6-4BE1-893D-EBCB285005E9}"/>
                </a:ext>
              </a:extLst>
            </p:cNvPr>
            <p:cNvSpPr>
              <a:spLocks/>
            </p:cNvSpPr>
            <p:nvPr/>
          </p:nvSpPr>
          <p:spPr bwMode="white">
            <a:xfrm>
              <a:off x="10372438" y="1406980"/>
              <a:ext cx="16998" cy="91524"/>
            </a:xfrm>
            <a:custGeom>
              <a:avLst/>
              <a:gdLst>
                <a:gd name="T0" fmla="*/ 0 w 13"/>
                <a:gd name="T1" fmla="*/ 70 h 70"/>
                <a:gd name="T2" fmla="*/ 0 w 13"/>
                <a:gd name="T3" fmla="*/ 6 h 70"/>
                <a:gd name="T4" fmla="*/ 13 w 13"/>
                <a:gd name="T5" fmla="*/ 0 h 70"/>
                <a:gd name="T6" fmla="*/ 13 w 13"/>
                <a:gd name="T7" fmla="*/ 70 h 70"/>
                <a:gd name="T8" fmla="*/ 0 w 13"/>
                <a:gd name="T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70">
                  <a:moveTo>
                    <a:pt x="0" y="70"/>
                  </a:moveTo>
                  <a:lnTo>
                    <a:pt x="0" y="6"/>
                  </a:lnTo>
                  <a:lnTo>
                    <a:pt x="13" y="0"/>
                  </a:lnTo>
                  <a:lnTo>
                    <a:pt x="13" y="70"/>
                  </a:lnTo>
                  <a:lnTo>
                    <a:pt x="0" y="7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99" name="Freeform 15">
              <a:extLst>
                <a:ext uri="{FF2B5EF4-FFF2-40B4-BE49-F238E27FC236}">
                  <a16:creationId xmlns:a16="http://schemas.microsoft.com/office/drawing/2014/main" id="{98B7DF92-85DC-454B-9A4B-F9A35E6A3C3A}"/>
                </a:ext>
              </a:extLst>
            </p:cNvPr>
            <p:cNvSpPr>
              <a:spLocks noEditPoints="1"/>
            </p:cNvSpPr>
            <p:nvPr/>
          </p:nvSpPr>
          <p:spPr bwMode="white">
            <a:xfrm>
              <a:off x="10403818" y="1430515"/>
              <a:ext cx="57529" cy="69297"/>
            </a:xfrm>
            <a:custGeom>
              <a:avLst/>
              <a:gdLst>
                <a:gd name="T0" fmla="*/ 58 w 83"/>
                <a:gd name="T1" fmla="*/ 99 h 101"/>
                <a:gd name="T2" fmla="*/ 58 w 83"/>
                <a:gd name="T3" fmla="*/ 93 h 101"/>
                <a:gd name="T4" fmla="*/ 54 w 83"/>
                <a:gd name="T5" fmla="*/ 96 h 101"/>
                <a:gd name="T6" fmla="*/ 49 w 83"/>
                <a:gd name="T7" fmla="*/ 99 h 101"/>
                <a:gd name="T8" fmla="*/ 42 w 83"/>
                <a:gd name="T9" fmla="*/ 101 h 101"/>
                <a:gd name="T10" fmla="*/ 36 w 83"/>
                <a:gd name="T11" fmla="*/ 101 h 101"/>
                <a:gd name="T12" fmla="*/ 23 w 83"/>
                <a:gd name="T13" fmla="*/ 99 h 101"/>
                <a:gd name="T14" fmla="*/ 11 w 83"/>
                <a:gd name="T15" fmla="*/ 93 h 101"/>
                <a:gd name="T16" fmla="*/ 3 w 83"/>
                <a:gd name="T17" fmla="*/ 82 h 101"/>
                <a:gd name="T18" fmla="*/ 0 w 83"/>
                <a:gd name="T19" fmla="*/ 67 h 101"/>
                <a:gd name="T20" fmla="*/ 3 w 83"/>
                <a:gd name="T21" fmla="*/ 53 h 101"/>
                <a:gd name="T22" fmla="*/ 11 w 83"/>
                <a:gd name="T23" fmla="*/ 42 h 101"/>
                <a:gd name="T24" fmla="*/ 24 w 83"/>
                <a:gd name="T25" fmla="*/ 36 h 101"/>
                <a:gd name="T26" fmla="*/ 39 w 83"/>
                <a:gd name="T27" fmla="*/ 34 h 101"/>
                <a:gd name="T28" fmla="*/ 50 w 83"/>
                <a:gd name="T29" fmla="*/ 36 h 101"/>
                <a:gd name="T30" fmla="*/ 58 w 83"/>
                <a:gd name="T31" fmla="*/ 38 h 101"/>
                <a:gd name="T32" fmla="*/ 58 w 83"/>
                <a:gd name="T33" fmla="*/ 33 h 101"/>
                <a:gd name="T34" fmla="*/ 54 w 83"/>
                <a:gd name="T35" fmla="*/ 25 h 101"/>
                <a:gd name="T36" fmla="*/ 44 w 83"/>
                <a:gd name="T37" fmla="*/ 21 h 101"/>
                <a:gd name="T38" fmla="*/ 30 w 83"/>
                <a:gd name="T39" fmla="*/ 22 h 101"/>
                <a:gd name="T40" fmla="*/ 17 w 83"/>
                <a:gd name="T41" fmla="*/ 27 h 101"/>
                <a:gd name="T42" fmla="*/ 7 w 83"/>
                <a:gd name="T43" fmla="*/ 10 h 101"/>
                <a:gd name="T44" fmla="*/ 25 w 83"/>
                <a:gd name="T45" fmla="*/ 2 h 101"/>
                <a:gd name="T46" fmla="*/ 44 w 83"/>
                <a:gd name="T47" fmla="*/ 0 h 101"/>
                <a:gd name="T48" fmla="*/ 60 w 83"/>
                <a:gd name="T49" fmla="*/ 2 h 101"/>
                <a:gd name="T50" fmla="*/ 72 w 83"/>
                <a:gd name="T51" fmla="*/ 9 h 101"/>
                <a:gd name="T52" fmla="*/ 80 w 83"/>
                <a:gd name="T53" fmla="*/ 19 h 101"/>
                <a:gd name="T54" fmla="*/ 83 w 83"/>
                <a:gd name="T55" fmla="*/ 34 h 101"/>
                <a:gd name="T56" fmla="*/ 83 w 83"/>
                <a:gd name="T57" fmla="*/ 99 h 101"/>
                <a:gd name="T58" fmla="*/ 58 w 83"/>
                <a:gd name="T59" fmla="*/ 99 h 101"/>
                <a:gd name="T60" fmla="*/ 58 w 83"/>
                <a:gd name="T61" fmla="*/ 58 h 101"/>
                <a:gd name="T62" fmla="*/ 54 w 83"/>
                <a:gd name="T63" fmla="*/ 57 h 101"/>
                <a:gd name="T64" fmla="*/ 51 w 83"/>
                <a:gd name="T65" fmla="*/ 55 h 101"/>
                <a:gd name="T66" fmla="*/ 46 w 83"/>
                <a:gd name="T67" fmla="*/ 55 h 101"/>
                <a:gd name="T68" fmla="*/ 40 w 83"/>
                <a:gd name="T69" fmla="*/ 54 h 101"/>
                <a:gd name="T70" fmla="*/ 29 w 83"/>
                <a:gd name="T71" fmla="*/ 58 h 101"/>
                <a:gd name="T72" fmla="*/ 25 w 83"/>
                <a:gd name="T73" fmla="*/ 67 h 101"/>
                <a:gd name="T74" fmla="*/ 26 w 83"/>
                <a:gd name="T75" fmla="*/ 71 h 101"/>
                <a:gd name="T76" fmla="*/ 28 w 83"/>
                <a:gd name="T77" fmla="*/ 76 h 101"/>
                <a:gd name="T78" fmla="*/ 33 w 83"/>
                <a:gd name="T79" fmla="*/ 78 h 101"/>
                <a:gd name="T80" fmla="*/ 40 w 83"/>
                <a:gd name="T81" fmla="*/ 80 h 101"/>
                <a:gd name="T82" fmla="*/ 46 w 83"/>
                <a:gd name="T83" fmla="*/ 79 h 101"/>
                <a:gd name="T84" fmla="*/ 51 w 83"/>
                <a:gd name="T85" fmla="*/ 77 h 101"/>
                <a:gd name="T86" fmla="*/ 55 w 83"/>
                <a:gd name="T87" fmla="*/ 74 h 101"/>
                <a:gd name="T88" fmla="*/ 58 w 83"/>
                <a:gd name="T89" fmla="*/ 71 h 101"/>
                <a:gd name="T90" fmla="*/ 58 w 83"/>
                <a:gd name="T91" fmla="*/ 5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83" h="101">
                  <a:moveTo>
                    <a:pt x="58" y="99"/>
                  </a:moveTo>
                  <a:cubicBezTo>
                    <a:pt x="58" y="93"/>
                    <a:pt x="58" y="93"/>
                    <a:pt x="58" y="93"/>
                  </a:cubicBezTo>
                  <a:cubicBezTo>
                    <a:pt x="57" y="94"/>
                    <a:pt x="55" y="95"/>
                    <a:pt x="54" y="96"/>
                  </a:cubicBezTo>
                  <a:cubicBezTo>
                    <a:pt x="52" y="97"/>
                    <a:pt x="51" y="98"/>
                    <a:pt x="49" y="99"/>
                  </a:cubicBezTo>
                  <a:cubicBezTo>
                    <a:pt x="47" y="100"/>
                    <a:pt x="44" y="100"/>
                    <a:pt x="42" y="101"/>
                  </a:cubicBezTo>
                  <a:cubicBezTo>
                    <a:pt x="40" y="101"/>
                    <a:pt x="38" y="101"/>
                    <a:pt x="36" y="101"/>
                  </a:cubicBezTo>
                  <a:cubicBezTo>
                    <a:pt x="31" y="101"/>
                    <a:pt x="27" y="100"/>
                    <a:pt x="23" y="99"/>
                  </a:cubicBezTo>
                  <a:cubicBezTo>
                    <a:pt x="18" y="98"/>
                    <a:pt x="14" y="96"/>
                    <a:pt x="11" y="93"/>
                  </a:cubicBezTo>
                  <a:cubicBezTo>
                    <a:pt x="8" y="90"/>
                    <a:pt x="5" y="86"/>
                    <a:pt x="3" y="82"/>
                  </a:cubicBezTo>
                  <a:cubicBezTo>
                    <a:pt x="1" y="78"/>
                    <a:pt x="0" y="73"/>
                    <a:pt x="0" y="67"/>
                  </a:cubicBezTo>
                  <a:cubicBezTo>
                    <a:pt x="0" y="61"/>
                    <a:pt x="1" y="57"/>
                    <a:pt x="3" y="53"/>
                  </a:cubicBezTo>
                  <a:cubicBezTo>
                    <a:pt x="5" y="48"/>
                    <a:pt x="8" y="45"/>
                    <a:pt x="11" y="42"/>
                  </a:cubicBezTo>
                  <a:cubicBezTo>
                    <a:pt x="15" y="40"/>
                    <a:pt x="19" y="38"/>
                    <a:pt x="24" y="36"/>
                  </a:cubicBezTo>
                  <a:cubicBezTo>
                    <a:pt x="28" y="35"/>
                    <a:pt x="33" y="34"/>
                    <a:pt x="39" y="34"/>
                  </a:cubicBezTo>
                  <a:cubicBezTo>
                    <a:pt x="43" y="34"/>
                    <a:pt x="47" y="35"/>
                    <a:pt x="50" y="36"/>
                  </a:cubicBezTo>
                  <a:cubicBezTo>
                    <a:pt x="53" y="36"/>
                    <a:pt x="56" y="37"/>
                    <a:pt x="58" y="38"/>
                  </a:cubicBezTo>
                  <a:cubicBezTo>
                    <a:pt x="58" y="33"/>
                    <a:pt x="58" y="33"/>
                    <a:pt x="58" y="33"/>
                  </a:cubicBezTo>
                  <a:cubicBezTo>
                    <a:pt x="58" y="30"/>
                    <a:pt x="56" y="27"/>
                    <a:pt x="54" y="25"/>
                  </a:cubicBezTo>
                  <a:cubicBezTo>
                    <a:pt x="52" y="22"/>
                    <a:pt x="48" y="21"/>
                    <a:pt x="44" y="21"/>
                  </a:cubicBezTo>
                  <a:cubicBezTo>
                    <a:pt x="38" y="21"/>
                    <a:pt x="33" y="21"/>
                    <a:pt x="30" y="22"/>
                  </a:cubicBezTo>
                  <a:cubicBezTo>
                    <a:pt x="26" y="23"/>
                    <a:pt x="22" y="25"/>
                    <a:pt x="17" y="27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14" y="6"/>
                    <a:pt x="19" y="4"/>
                    <a:pt x="25" y="2"/>
                  </a:cubicBezTo>
                  <a:cubicBezTo>
                    <a:pt x="30" y="1"/>
                    <a:pt x="37" y="0"/>
                    <a:pt x="44" y="0"/>
                  </a:cubicBezTo>
                  <a:cubicBezTo>
                    <a:pt x="50" y="0"/>
                    <a:pt x="55" y="1"/>
                    <a:pt x="60" y="2"/>
                  </a:cubicBezTo>
                  <a:cubicBezTo>
                    <a:pt x="65" y="4"/>
                    <a:pt x="69" y="6"/>
                    <a:pt x="72" y="9"/>
                  </a:cubicBezTo>
                  <a:cubicBezTo>
                    <a:pt x="76" y="12"/>
                    <a:pt x="79" y="15"/>
                    <a:pt x="80" y="19"/>
                  </a:cubicBezTo>
                  <a:cubicBezTo>
                    <a:pt x="82" y="24"/>
                    <a:pt x="83" y="29"/>
                    <a:pt x="83" y="34"/>
                  </a:cubicBezTo>
                  <a:cubicBezTo>
                    <a:pt x="83" y="99"/>
                    <a:pt x="83" y="99"/>
                    <a:pt x="83" y="99"/>
                  </a:cubicBezTo>
                  <a:lnTo>
                    <a:pt x="58" y="99"/>
                  </a:lnTo>
                  <a:close/>
                  <a:moveTo>
                    <a:pt x="58" y="58"/>
                  </a:moveTo>
                  <a:cubicBezTo>
                    <a:pt x="57" y="58"/>
                    <a:pt x="55" y="57"/>
                    <a:pt x="54" y="57"/>
                  </a:cubicBezTo>
                  <a:cubicBezTo>
                    <a:pt x="53" y="56"/>
                    <a:pt x="52" y="56"/>
                    <a:pt x="51" y="55"/>
                  </a:cubicBezTo>
                  <a:cubicBezTo>
                    <a:pt x="49" y="55"/>
                    <a:pt x="48" y="55"/>
                    <a:pt x="46" y="55"/>
                  </a:cubicBezTo>
                  <a:cubicBezTo>
                    <a:pt x="44" y="54"/>
                    <a:pt x="42" y="54"/>
                    <a:pt x="40" y="54"/>
                  </a:cubicBezTo>
                  <a:cubicBezTo>
                    <a:pt x="35" y="54"/>
                    <a:pt x="31" y="55"/>
                    <a:pt x="29" y="58"/>
                  </a:cubicBezTo>
                  <a:cubicBezTo>
                    <a:pt x="26" y="60"/>
                    <a:pt x="25" y="63"/>
                    <a:pt x="25" y="67"/>
                  </a:cubicBezTo>
                  <a:cubicBezTo>
                    <a:pt x="25" y="68"/>
                    <a:pt x="25" y="70"/>
                    <a:pt x="26" y="71"/>
                  </a:cubicBezTo>
                  <a:cubicBezTo>
                    <a:pt x="26" y="73"/>
                    <a:pt x="27" y="74"/>
                    <a:pt x="28" y="76"/>
                  </a:cubicBezTo>
                  <a:cubicBezTo>
                    <a:pt x="30" y="77"/>
                    <a:pt x="31" y="78"/>
                    <a:pt x="33" y="78"/>
                  </a:cubicBezTo>
                  <a:cubicBezTo>
                    <a:pt x="35" y="79"/>
                    <a:pt x="37" y="80"/>
                    <a:pt x="40" y="80"/>
                  </a:cubicBezTo>
                  <a:cubicBezTo>
                    <a:pt x="42" y="80"/>
                    <a:pt x="44" y="79"/>
                    <a:pt x="46" y="79"/>
                  </a:cubicBezTo>
                  <a:cubicBezTo>
                    <a:pt x="48" y="78"/>
                    <a:pt x="49" y="78"/>
                    <a:pt x="51" y="77"/>
                  </a:cubicBezTo>
                  <a:cubicBezTo>
                    <a:pt x="52" y="76"/>
                    <a:pt x="54" y="75"/>
                    <a:pt x="55" y="74"/>
                  </a:cubicBezTo>
                  <a:cubicBezTo>
                    <a:pt x="56" y="73"/>
                    <a:pt x="57" y="72"/>
                    <a:pt x="58" y="71"/>
                  </a:cubicBezTo>
                  <a:lnTo>
                    <a:pt x="58" y="5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00" name="Freeform 16">
              <a:extLst>
                <a:ext uri="{FF2B5EF4-FFF2-40B4-BE49-F238E27FC236}">
                  <a16:creationId xmlns:a16="http://schemas.microsoft.com/office/drawing/2014/main" id="{42944BA6-F9C0-48FA-B96D-E1DF6E30FA74}"/>
                </a:ext>
              </a:extLst>
            </p:cNvPr>
            <p:cNvSpPr>
              <a:spLocks/>
            </p:cNvSpPr>
            <p:nvPr/>
          </p:nvSpPr>
          <p:spPr bwMode="white">
            <a:xfrm>
              <a:off x="10477037" y="1430515"/>
              <a:ext cx="57529" cy="67989"/>
            </a:xfrm>
            <a:custGeom>
              <a:avLst/>
              <a:gdLst>
                <a:gd name="T0" fmla="*/ 59 w 84"/>
                <a:gd name="T1" fmla="*/ 99 h 99"/>
                <a:gd name="T2" fmla="*/ 59 w 84"/>
                <a:gd name="T3" fmla="*/ 47 h 99"/>
                <a:gd name="T4" fmla="*/ 55 w 84"/>
                <a:gd name="T5" fmla="*/ 30 h 99"/>
                <a:gd name="T6" fmla="*/ 42 w 84"/>
                <a:gd name="T7" fmla="*/ 24 h 99"/>
                <a:gd name="T8" fmla="*/ 35 w 84"/>
                <a:gd name="T9" fmla="*/ 25 h 99"/>
                <a:gd name="T10" fmla="*/ 30 w 84"/>
                <a:gd name="T11" fmla="*/ 29 h 99"/>
                <a:gd name="T12" fmla="*/ 27 w 84"/>
                <a:gd name="T13" fmla="*/ 35 h 99"/>
                <a:gd name="T14" fmla="*/ 26 w 84"/>
                <a:gd name="T15" fmla="*/ 46 h 99"/>
                <a:gd name="T16" fmla="*/ 26 w 84"/>
                <a:gd name="T17" fmla="*/ 99 h 99"/>
                <a:gd name="T18" fmla="*/ 0 w 84"/>
                <a:gd name="T19" fmla="*/ 99 h 99"/>
                <a:gd name="T20" fmla="*/ 0 w 84"/>
                <a:gd name="T21" fmla="*/ 2 h 99"/>
                <a:gd name="T22" fmla="*/ 26 w 84"/>
                <a:gd name="T23" fmla="*/ 2 h 99"/>
                <a:gd name="T24" fmla="*/ 26 w 84"/>
                <a:gd name="T25" fmla="*/ 8 h 99"/>
                <a:gd name="T26" fmla="*/ 30 w 84"/>
                <a:gd name="T27" fmla="*/ 5 h 99"/>
                <a:gd name="T28" fmla="*/ 35 w 84"/>
                <a:gd name="T29" fmla="*/ 2 h 99"/>
                <a:gd name="T30" fmla="*/ 41 w 84"/>
                <a:gd name="T31" fmla="*/ 1 h 99"/>
                <a:gd name="T32" fmla="*/ 48 w 84"/>
                <a:gd name="T33" fmla="*/ 0 h 99"/>
                <a:gd name="T34" fmla="*/ 64 w 84"/>
                <a:gd name="T35" fmla="*/ 3 h 99"/>
                <a:gd name="T36" fmla="*/ 76 w 84"/>
                <a:gd name="T37" fmla="*/ 12 h 99"/>
                <a:gd name="T38" fmla="*/ 82 w 84"/>
                <a:gd name="T39" fmla="*/ 26 h 99"/>
                <a:gd name="T40" fmla="*/ 84 w 84"/>
                <a:gd name="T41" fmla="*/ 44 h 99"/>
                <a:gd name="T42" fmla="*/ 84 w 84"/>
                <a:gd name="T43" fmla="*/ 99 h 99"/>
                <a:gd name="T44" fmla="*/ 59 w 84"/>
                <a:gd name="T45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4" h="99">
                  <a:moveTo>
                    <a:pt x="59" y="99"/>
                  </a:moveTo>
                  <a:cubicBezTo>
                    <a:pt x="59" y="47"/>
                    <a:pt x="59" y="47"/>
                    <a:pt x="59" y="47"/>
                  </a:cubicBezTo>
                  <a:cubicBezTo>
                    <a:pt x="59" y="39"/>
                    <a:pt x="58" y="33"/>
                    <a:pt x="55" y="30"/>
                  </a:cubicBezTo>
                  <a:cubicBezTo>
                    <a:pt x="53" y="26"/>
                    <a:pt x="48" y="24"/>
                    <a:pt x="42" y="24"/>
                  </a:cubicBezTo>
                  <a:cubicBezTo>
                    <a:pt x="40" y="24"/>
                    <a:pt x="37" y="24"/>
                    <a:pt x="35" y="25"/>
                  </a:cubicBezTo>
                  <a:cubicBezTo>
                    <a:pt x="33" y="26"/>
                    <a:pt x="31" y="27"/>
                    <a:pt x="30" y="29"/>
                  </a:cubicBezTo>
                  <a:cubicBezTo>
                    <a:pt x="29" y="30"/>
                    <a:pt x="28" y="33"/>
                    <a:pt x="27" y="35"/>
                  </a:cubicBezTo>
                  <a:cubicBezTo>
                    <a:pt x="26" y="38"/>
                    <a:pt x="26" y="42"/>
                    <a:pt x="26" y="46"/>
                  </a:cubicBezTo>
                  <a:cubicBezTo>
                    <a:pt x="26" y="99"/>
                    <a:pt x="26" y="99"/>
                    <a:pt x="26" y="99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7" y="7"/>
                    <a:pt x="28" y="6"/>
                    <a:pt x="30" y="5"/>
                  </a:cubicBezTo>
                  <a:cubicBezTo>
                    <a:pt x="31" y="4"/>
                    <a:pt x="33" y="3"/>
                    <a:pt x="35" y="2"/>
                  </a:cubicBezTo>
                  <a:cubicBezTo>
                    <a:pt x="37" y="2"/>
                    <a:pt x="39" y="1"/>
                    <a:pt x="41" y="1"/>
                  </a:cubicBezTo>
                  <a:cubicBezTo>
                    <a:pt x="44" y="0"/>
                    <a:pt x="46" y="0"/>
                    <a:pt x="48" y="0"/>
                  </a:cubicBezTo>
                  <a:cubicBezTo>
                    <a:pt x="55" y="0"/>
                    <a:pt x="60" y="1"/>
                    <a:pt x="64" y="3"/>
                  </a:cubicBezTo>
                  <a:cubicBezTo>
                    <a:pt x="69" y="5"/>
                    <a:pt x="73" y="8"/>
                    <a:pt x="76" y="12"/>
                  </a:cubicBezTo>
                  <a:cubicBezTo>
                    <a:pt x="79" y="16"/>
                    <a:pt x="81" y="20"/>
                    <a:pt x="82" y="26"/>
                  </a:cubicBezTo>
                  <a:cubicBezTo>
                    <a:pt x="84" y="31"/>
                    <a:pt x="84" y="38"/>
                    <a:pt x="84" y="44"/>
                  </a:cubicBezTo>
                  <a:cubicBezTo>
                    <a:pt x="84" y="99"/>
                    <a:pt x="84" y="99"/>
                    <a:pt x="84" y="99"/>
                  </a:cubicBezTo>
                  <a:lnTo>
                    <a:pt x="59" y="9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01" name="Freeform 17">
              <a:extLst>
                <a:ext uri="{FF2B5EF4-FFF2-40B4-BE49-F238E27FC236}">
                  <a16:creationId xmlns:a16="http://schemas.microsoft.com/office/drawing/2014/main" id="{AD76CDEE-75C6-43F6-B367-6EF14BC3B7FE}"/>
                </a:ext>
              </a:extLst>
            </p:cNvPr>
            <p:cNvSpPr>
              <a:spLocks noEditPoints="1"/>
            </p:cNvSpPr>
            <p:nvPr/>
          </p:nvSpPr>
          <p:spPr bwMode="white">
            <a:xfrm>
              <a:off x="10547642" y="1406980"/>
              <a:ext cx="57529" cy="92832"/>
            </a:xfrm>
            <a:custGeom>
              <a:avLst/>
              <a:gdLst>
                <a:gd name="T0" fmla="*/ 58 w 84"/>
                <a:gd name="T1" fmla="*/ 135 h 137"/>
                <a:gd name="T2" fmla="*/ 58 w 84"/>
                <a:gd name="T3" fmla="*/ 129 h 137"/>
                <a:gd name="T4" fmla="*/ 55 w 84"/>
                <a:gd name="T5" fmla="*/ 132 h 137"/>
                <a:gd name="T6" fmla="*/ 50 w 84"/>
                <a:gd name="T7" fmla="*/ 135 h 137"/>
                <a:gd name="T8" fmla="*/ 45 w 84"/>
                <a:gd name="T9" fmla="*/ 137 h 137"/>
                <a:gd name="T10" fmla="*/ 38 w 84"/>
                <a:gd name="T11" fmla="*/ 137 h 137"/>
                <a:gd name="T12" fmla="*/ 23 w 84"/>
                <a:gd name="T13" fmla="*/ 134 h 137"/>
                <a:gd name="T14" fmla="*/ 11 w 84"/>
                <a:gd name="T15" fmla="*/ 125 h 137"/>
                <a:gd name="T16" fmla="*/ 3 w 84"/>
                <a:gd name="T17" fmla="*/ 109 h 137"/>
                <a:gd name="T18" fmla="*/ 0 w 84"/>
                <a:gd name="T19" fmla="*/ 85 h 137"/>
                <a:gd name="T20" fmla="*/ 3 w 84"/>
                <a:gd name="T21" fmla="*/ 65 h 137"/>
                <a:gd name="T22" fmla="*/ 10 w 84"/>
                <a:gd name="T23" fmla="*/ 50 h 137"/>
                <a:gd name="T24" fmla="*/ 22 w 84"/>
                <a:gd name="T25" fmla="*/ 40 h 137"/>
                <a:gd name="T26" fmla="*/ 38 w 84"/>
                <a:gd name="T27" fmla="*/ 36 h 137"/>
                <a:gd name="T28" fmla="*/ 44 w 84"/>
                <a:gd name="T29" fmla="*/ 36 h 137"/>
                <a:gd name="T30" fmla="*/ 50 w 84"/>
                <a:gd name="T31" fmla="*/ 38 h 137"/>
                <a:gd name="T32" fmla="*/ 55 w 84"/>
                <a:gd name="T33" fmla="*/ 41 h 137"/>
                <a:gd name="T34" fmla="*/ 58 w 84"/>
                <a:gd name="T35" fmla="*/ 44 h 137"/>
                <a:gd name="T36" fmla="*/ 58 w 84"/>
                <a:gd name="T37" fmla="*/ 13 h 137"/>
                <a:gd name="T38" fmla="*/ 84 w 84"/>
                <a:gd name="T39" fmla="*/ 0 h 137"/>
                <a:gd name="T40" fmla="*/ 84 w 84"/>
                <a:gd name="T41" fmla="*/ 135 h 137"/>
                <a:gd name="T42" fmla="*/ 58 w 84"/>
                <a:gd name="T43" fmla="*/ 135 h 137"/>
                <a:gd name="T44" fmla="*/ 58 w 84"/>
                <a:gd name="T45" fmla="*/ 68 h 137"/>
                <a:gd name="T46" fmla="*/ 55 w 84"/>
                <a:gd name="T47" fmla="*/ 65 h 137"/>
                <a:gd name="T48" fmla="*/ 52 w 84"/>
                <a:gd name="T49" fmla="*/ 62 h 137"/>
                <a:gd name="T50" fmla="*/ 47 w 84"/>
                <a:gd name="T51" fmla="*/ 61 h 137"/>
                <a:gd name="T52" fmla="*/ 41 w 84"/>
                <a:gd name="T53" fmla="*/ 60 h 137"/>
                <a:gd name="T54" fmla="*/ 30 w 84"/>
                <a:gd name="T55" fmla="*/ 66 h 137"/>
                <a:gd name="T56" fmla="*/ 26 w 84"/>
                <a:gd name="T57" fmla="*/ 85 h 137"/>
                <a:gd name="T58" fmla="*/ 27 w 84"/>
                <a:gd name="T59" fmla="*/ 98 h 137"/>
                <a:gd name="T60" fmla="*/ 31 w 84"/>
                <a:gd name="T61" fmla="*/ 106 h 137"/>
                <a:gd name="T62" fmla="*/ 36 w 84"/>
                <a:gd name="T63" fmla="*/ 111 h 137"/>
                <a:gd name="T64" fmla="*/ 43 w 84"/>
                <a:gd name="T65" fmla="*/ 113 h 137"/>
                <a:gd name="T66" fmla="*/ 48 w 84"/>
                <a:gd name="T67" fmla="*/ 112 h 137"/>
                <a:gd name="T68" fmla="*/ 52 w 84"/>
                <a:gd name="T69" fmla="*/ 111 h 137"/>
                <a:gd name="T70" fmla="*/ 56 w 84"/>
                <a:gd name="T71" fmla="*/ 108 h 137"/>
                <a:gd name="T72" fmla="*/ 58 w 84"/>
                <a:gd name="T73" fmla="*/ 105 h 137"/>
                <a:gd name="T74" fmla="*/ 58 w 84"/>
                <a:gd name="T75" fmla="*/ 68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4" h="137">
                  <a:moveTo>
                    <a:pt x="58" y="135"/>
                  </a:moveTo>
                  <a:cubicBezTo>
                    <a:pt x="58" y="129"/>
                    <a:pt x="58" y="129"/>
                    <a:pt x="58" y="129"/>
                  </a:cubicBezTo>
                  <a:cubicBezTo>
                    <a:pt x="57" y="130"/>
                    <a:pt x="56" y="131"/>
                    <a:pt x="55" y="132"/>
                  </a:cubicBezTo>
                  <a:cubicBezTo>
                    <a:pt x="53" y="133"/>
                    <a:pt x="52" y="134"/>
                    <a:pt x="50" y="135"/>
                  </a:cubicBezTo>
                  <a:cubicBezTo>
                    <a:pt x="48" y="136"/>
                    <a:pt x="47" y="136"/>
                    <a:pt x="45" y="137"/>
                  </a:cubicBezTo>
                  <a:cubicBezTo>
                    <a:pt x="43" y="137"/>
                    <a:pt x="40" y="137"/>
                    <a:pt x="38" y="137"/>
                  </a:cubicBezTo>
                  <a:cubicBezTo>
                    <a:pt x="33" y="137"/>
                    <a:pt x="28" y="136"/>
                    <a:pt x="23" y="134"/>
                  </a:cubicBezTo>
                  <a:cubicBezTo>
                    <a:pt x="19" y="132"/>
                    <a:pt x="15" y="129"/>
                    <a:pt x="11" y="125"/>
                  </a:cubicBezTo>
                  <a:cubicBezTo>
                    <a:pt x="8" y="121"/>
                    <a:pt x="5" y="115"/>
                    <a:pt x="3" y="109"/>
                  </a:cubicBezTo>
                  <a:cubicBezTo>
                    <a:pt x="1" y="102"/>
                    <a:pt x="0" y="94"/>
                    <a:pt x="0" y="85"/>
                  </a:cubicBezTo>
                  <a:cubicBezTo>
                    <a:pt x="0" y="78"/>
                    <a:pt x="1" y="71"/>
                    <a:pt x="3" y="65"/>
                  </a:cubicBezTo>
                  <a:cubicBezTo>
                    <a:pt x="4" y="59"/>
                    <a:pt x="7" y="54"/>
                    <a:pt x="10" y="50"/>
                  </a:cubicBezTo>
                  <a:cubicBezTo>
                    <a:pt x="13" y="45"/>
                    <a:pt x="17" y="42"/>
                    <a:pt x="22" y="40"/>
                  </a:cubicBezTo>
                  <a:cubicBezTo>
                    <a:pt x="27" y="37"/>
                    <a:pt x="32" y="36"/>
                    <a:pt x="38" y="36"/>
                  </a:cubicBezTo>
                  <a:cubicBezTo>
                    <a:pt x="40" y="36"/>
                    <a:pt x="42" y="36"/>
                    <a:pt x="44" y="36"/>
                  </a:cubicBezTo>
                  <a:cubicBezTo>
                    <a:pt x="46" y="37"/>
                    <a:pt x="48" y="37"/>
                    <a:pt x="50" y="38"/>
                  </a:cubicBezTo>
                  <a:cubicBezTo>
                    <a:pt x="52" y="39"/>
                    <a:pt x="53" y="40"/>
                    <a:pt x="55" y="41"/>
                  </a:cubicBezTo>
                  <a:cubicBezTo>
                    <a:pt x="56" y="42"/>
                    <a:pt x="57" y="42"/>
                    <a:pt x="58" y="44"/>
                  </a:cubicBezTo>
                  <a:cubicBezTo>
                    <a:pt x="58" y="13"/>
                    <a:pt x="58" y="13"/>
                    <a:pt x="58" y="13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135"/>
                    <a:pt x="84" y="135"/>
                    <a:pt x="84" y="135"/>
                  </a:cubicBezTo>
                  <a:lnTo>
                    <a:pt x="58" y="135"/>
                  </a:lnTo>
                  <a:close/>
                  <a:moveTo>
                    <a:pt x="58" y="68"/>
                  </a:moveTo>
                  <a:cubicBezTo>
                    <a:pt x="57" y="67"/>
                    <a:pt x="56" y="66"/>
                    <a:pt x="55" y="65"/>
                  </a:cubicBezTo>
                  <a:cubicBezTo>
                    <a:pt x="54" y="64"/>
                    <a:pt x="53" y="63"/>
                    <a:pt x="52" y="62"/>
                  </a:cubicBezTo>
                  <a:cubicBezTo>
                    <a:pt x="50" y="62"/>
                    <a:pt x="49" y="61"/>
                    <a:pt x="47" y="61"/>
                  </a:cubicBezTo>
                  <a:cubicBezTo>
                    <a:pt x="45" y="60"/>
                    <a:pt x="43" y="60"/>
                    <a:pt x="41" y="60"/>
                  </a:cubicBezTo>
                  <a:cubicBezTo>
                    <a:pt x="36" y="60"/>
                    <a:pt x="33" y="62"/>
                    <a:pt x="30" y="66"/>
                  </a:cubicBezTo>
                  <a:cubicBezTo>
                    <a:pt x="27" y="70"/>
                    <a:pt x="26" y="77"/>
                    <a:pt x="26" y="85"/>
                  </a:cubicBezTo>
                  <a:cubicBezTo>
                    <a:pt x="26" y="90"/>
                    <a:pt x="27" y="94"/>
                    <a:pt x="27" y="98"/>
                  </a:cubicBezTo>
                  <a:cubicBezTo>
                    <a:pt x="28" y="101"/>
                    <a:pt x="29" y="104"/>
                    <a:pt x="31" y="106"/>
                  </a:cubicBezTo>
                  <a:cubicBezTo>
                    <a:pt x="32" y="109"/>
                    <a:pt x="34" y="110"/>
                    <a:pt x="36" y="111"/>
                  </a:cubicBezTo>
                  <a:cubicBezTo>
                    <a:pt x="38" y="113"/>
                    <a:pt x="40" y="113"/>
                    <a:pt x="43" y="113"/>
                  </a:cubicBezTo>
                  <a:cubicBezTo>
                    <a:pt x="45" y="113"/>
                    <a:pt x="46" y="113"/>
                    <a:pt x="48" y="112"/>
                  </a:cubicBezTo>
                  <a:cubicBezTo>
                    <a:pt x="50" y="112"/>
                    <a:pt x="51" y="112"/>
                    <a:pt x="52" y="111"/>
                  </a:cubicBezTo>
                  <a:cubicBezTo>
                    <a:pt x="53" y="110"/>
                    <a:pt x="55" y="109"/>
                    <a:pt x="56" y="108"/>
                  </a:cubicBezTo>
                  <a:cubicBezTo>
                    <a:pt x="57" y="107"/>
                    <a:pt x="58" y="106"/>
                    <a:pt x="58" y="105"/>
                  </a:cubicBezTo>
                  <a:lnTo>
                    <a:pt x="58" y="6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02" name="Freeform 18">
              <a:extLst>
                <a:ext uri="{FF2B5EF4-FFF2-40B4-BE49-F238E27FC236}">
                  <a16:creationId xmlns:a16="http://schemas.microsoft.com/office/drawing/2014/main" id="{DACB136F-C6ED-433D-9631-749BCDC77B78}"/>
                </a:ext>
              </a:extLst>
            </p:cNvPr>
            <p:cNvSpPr>
              <a:spLocks noEditPoints="1"/>
            </p:cNvSpPr>
            <p:nvPr/>
          </p:nvSpPr>
          <p:spPr bwMode="white">
            <a:xfrm>
              <a:off x="9731769" y="1406980"/>
              <a:ext cx="19613" cy="91524"/>
            </a:xfrm>
            <a:custGeom>
              <a:avLst/>
              <a:gdLst>
                <a:gd name="T0" fmla="*/ 29 w 29"/>
                <a:gd name="T1" fmla="*/ 14 h 134"/>
                <a:gd name="T2" fmla="*/ 28 w 29"/>
                <a:gd name="T3" fmla="*/ 20 h 134"/>
                <a:gd name="T4" fmla="*/ 25 w 29"/>
                <a:gd name="T5" fmla="*/ 25 h 134"/>
                <a:gd name="T6" fmla="*/ 20 w 29"/>
                <a:gd name="T7" fmla="*/ 28 h 134"/>
                <a:gd name="T8" fmla="*/ 15 w 29"/>
                <a:gd name="T9" fmla="*/ 29 h 134"/>
                <a:gd name="T10" fmla="*/ 9 w 29"/>
                <a:gd name="T11" fmla="*/ 28 h 134"/>
                <a:gd name="T12" fmla="*/ 5 w 29"/>
                <a:gd name="T13" fmla="*/ 25 h 134"/>
                <a:gd name="T14" fmla="*/ 1 w 29"/>
                <a:gd name="T15" fmla="*/ 20 h 134"/>
                <a:gd name="T16" fmla="*/ 0 w 29"/>
                <a:gd name="T17" fmla="*/ 14 h 134"/>
                <a:gd name="T18" fmla="*/ 1 w 29"/>
                <a:gd name="T19" fmla="*/ 9 h 134"/>
                <a:gd name="T20" fmla="*/ 5 w 29"/>
                <a:gd name="T21" fmla="*/ 4 h 134"/>
                <a:gd name="T22" fmla="*/ 9 w 29"/>
                <a:gd name="T23" fmla="*/ 1 h 134"/>
                <a:gd name="T24" fmla="*/ 15 w 29"/>
                <a:gd name="T25" fmla="*/ 0 h 134"/>
                <a:gd name="T26" fmla="*/ 20 w 29"/>
                <a:gd name="T27" fmla="*/ 1 h 134"/>
                <a:gd name="T28" fmla="*/ 25 w 29"/>
                <a:gd name="T29" fmla="*/ 4 h 134"/>
                <a:gd name="T30" fmla="*/ 28 w 29"/>
                <a:gd name="T31" fmla="*/ 9 h 134"/>
                <a:gd name="T32" fmla="*/ 29 w 29"/>
                <a:gd name="T33" fmla="*/ 14 h 134"/>
                <a:gd name="T34" fmla="*/ 2 w 29"/>
                <a:gd name="T35" fmla="*/ 134 h 134"/>
                <a:gd name="T36" fmla="*/ 2 w 29"/>
                <a:gd name="T37" fmla="*/ 37 h 134"/>
                <a:gd name="T38" fmla="*/ 28 w 29"/>
                <a:gd name="T39" fmla="*/ 37 h 134"/>
                <a:gd name="T40" fmla="*/ 28 w 29"/>
                <a:gd name="T41" fmla="*/ 134 h 134"/>
                <a:gd name="T42" fmla="*/ 2 w 29"/>
                <a:gd name="T43" fmla="*/ 134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9" h="134">
                  <a:moveTo>
                    <a:pt x="29" y="14"/>
                  </a:moveTo>
                  <a:cubicBezTo>
                    <a:pt x="29" y="16"/>
                    <a:pt x="29" y="18"/>
                    <a:pt x="28" y="20"/>
                  </a:cubicBezTo>
                  <a:cubicBezTo>
                    <a:pt x="28" y="22"/>
                    <a:pt x="26" y="23"/>
                    <a:pt x="25" y="25"/>
                  </a:cubicBezTo>
                  <a:cubicBezTo>
                    <a:pt x="24" y="26"/>
                    <a:pt x="22" y="27"/>
                    <a:pt x="20" y="28"/>
                  </a:cubicBezTo>
                  <a:cubicBezTo>
                    <a:pt x="19" y="29"/>
                    <a:pt x="17" y="29"/>
                    <a:pt x="15" y="29"/>
                  </a:cubicBezTo>
                  <a:cubicBezTo>
                    <a:pt x="13" y="29"/>
                    <a:pt x="11" y="29"/>
                    <a:pt x="9" y="28"/>
                  </a:cubicBezTo>
                  <a:cubicBezTo>
                    <a:pt x="7" y="27"/>
                    <a:pt x="6" y="26"/>
                    <a:pt x="5" y="25"/>
                  </a:cubicBezTo>
                  <a:cubicBezTo>
                    <a:pt x="3" y="23"/>
                    <a:pt x="2" y="22"/>
                    <a:pt x="1" y="20"/>
                  </a:cubicBezTo>
                  <a:cubicBezTo>
                    <a:pt x="1" y="18"/>
                    <a:pt x="0" y="16"/>
                    <a:pt x="0" y="14"/>
                  </a:cubicBezTo>
                  <a:cubicBezTo>
                    <a:pt x="0" y="12"/>
                    <a:pt x="1" y="11"/>
                    <a:pt x="1" y="9"/>
                  </a:cubicBezTo>
                  <a:cubicBezTo>
                    <a:pt x="2" y="7"/>
                    <a:pt x="3" y="5"/>
                    <a:pt x="5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2" y="2"/>
                    <a:pt x="24" y="3"/>
                    <a:pt x="25" y="4"/>
                  </a:cubicBezTo>
                  <a:cubicBezTo>
                    <a:pt x="26" y="5"/>
                    <a:pt x="28" y="7"/>
                    <a:pt x="28" y="9"/>
                  </a:cubicBezTo>
                  <a:cubicBezTo>
                    <a:pt x="29" y="11"/>
                    <a:pt x="29" y="12"/>
                    <a:pt x="29" y="14"/>
                  </a:cubicBezTo>
                  <a:close/>
                  <a:moveTo>
                    <a:pt x="2" y="134"/>
                  </a:moveTo>
                  <a:cubicBezTo>
                    <a:pt x="2" y="37"/>
                    <a:pt x="2" y="37"/>
                    <a:pt x="2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134"/>
                    <a:pt x="28" y="134"/>
                    <a:pt x="28" y="134"/>
                  </a:cubicBezTo>
                  <a:lnTo>
                    <a:pt x="2" y="1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03" name="Freeform 19">
              <a:extLst>
                <a:ext uri="{FF2B5EF4-FFF2-40B4-BE49-F238E27FC236}">
                  <a16:creationId xmlns:a16="http://schemas.microsoft.com/office/drawing/2014/main" id="{922FADCD-4917-47C7-ADDB-1574B3C49CA8}"/>
                </a:ext>
              </a:extLst>
            </p:cNvPr>
            <p:cNvSpPr>
              <a:spLocks/>
            </p:cNvSpPr>
            <p:nvPr/>
          </p:nvSpPr>
          <p:spPr bwMode="white">
            <a:xfrm>
              <a:off x="9767071" y="1430515"/>
              <a:ext cx="58837" cy="67989"/>
            </a:xfrm>
            <a:custGeom>
              <a:avLst/>
              <a:gdLst>
                <a:gd name="T0" fmla="*/ 59 w 85"/>
                <a:gd name="T1" fmla="*/ 99 h 99"/>
                <a:gd name="T2" fmla="*/ 59 w 85"/>
                <a:gd name="T3" fmla="*/ 47 h 99"/>
                <a:gd name="T4" fmla="*/ 55 w 85"/>
                <a:gd name="T5" fmla="*/ 30 h 99"/>
                <a:gd name="T6" fmla="*/ 43 w 85"/>
                <a:gd name="T7" fmla="*/ 24 h 99"/>
                <a:gd name="T8" fmla="*/ 35 w 85"/>
                <a:gd name="T9" fmla="*/ 25 h 99"/>
                <a:gd name="T10" fmla="*/ 30 w 85"/>
                <a:gd name="T11" fmla="*/ 29 h 99"/>
                <a:gd name="T12" fmla="*/ 27 w 85"/>
                <a:gd name="T13" fmla="*/ 35 h 99"/>
                <a:gd name="T14" fmla="*/ 26 w 85"/>
                <a:gd name="T15" fmla="*/ 46 h 99"/>
                <a:gd name="T16" fmla="*/ 26 w 85"/>
                <a:gd name="T17" fmla="*/ 99 h 99"/>
                <a:gd name="T18" fmla="*/ 0 w 85"/>
                <a:gd name="T19" fmla="*/ 99 h 99"/>
                <a:gd name="T20" fmla="*/ 0 w 85"/>
                <a:gd name="T21" fmla="*/ 2 h 99"/>
                <a:gd name="T22" fmla="*/ 26 w 85"/>
                <a:gd name="T23" fmla="*/ 2 h 99"/>
                <a:gd name="T24" fmla="*/ 26 w 85"/>
                <a:gd name="T25" fmla="*/ 8 h 99"/>
                <a:gd name="T26" fmla="*/ 30 w 85"/>
                <a:gd name="T27" fmla="*/ 5 h 99"/>
                <a:gd name="T28" fmla="*/ 35 w 85"/>
                <a:gd name="T29" fmla="*/ 2 h 99"/>
                <a:gd name="T30" fmla="*/ 42 w 85"/>
                <a:gd name="T31" fmla="*/ 1 h 99"/>
                <a:gd name="T32" fmla="*/ 49 w 85"/>
                <a:gd name="T33" fmla="*/ 0 h 99"/>
                <a:gd name="T34" fmla="*/ 65 w 85"/>
                <a:gd name="T35" fmla="*/ 3 h 99"/>
                <a:gd name="T36" fmla="*/ 76 w 85"/>
                <a:gd name="T37" fmla="*/ 12 h 99"/>
                <a:gd name="T38" fmla="*/ 82 w 85"/>
                <a:gd name="T39" fmla="*/ 26 h 99"/>
                <a:gd name="T40" fmla="*/ 85 w 85"/>
                <a:gd name="T41" fmla="*/ 44 h 99"/>
                <a:gd name="T42" fmla="*/ 85 w 85"/>
                <a:gd name="T43" fmla="*/ 99 h 99"/>
                <a:gd name="T44" fmla="*/ 59 w 85"/>
                <a:gd name="T45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5" h="99">
                  <a:moveTo>
                    <a:pt x="59" y="99"/>
                  </a:moveTo>
                  <a:cubicBezTo>
                    <a:pt x="59" y="47"/>
                    <a:pt x="59" y="47"/>
                    <a:pt x="59" y="47"/>
                  </a:cubicBezTo>
                  <a:cubicBezTo>
                    <a:pt x="59" y="39"/>
                    <a:pt x="58" y="33"/>
                    <a:pt x="55" y="30"/>
                  </a:cubicBezTo>
                  <a:cubicBezTo>
                    <a:pt x="53" y="26"/>
                    <a:pt x="49" y="24"/>
                    <a:pt x="43" y="24"/>
                  </a:cubicBezTo>
                  <a:cubicBezTo>
                    <a:pt x="40" y="24"/>
                    <a:pt x="38" y="24"/>
                    <a:pt x="35" y="25"/>
                  </a:cubicBezTo>
                  <a:cubicBezTo>
                    <a:pt x="33" y="26"/>
                    <a:pt x="32" y="27"/>
                    <a:pt x="30" y="29"/>
                  </a:cubicBezTo>
                  <a:cubicBezTo>
                    <a:pt x="29" y="30"/>
                    <a:pt x="28" y="33"/>
                    <a:pt x="27" y="35"/>
                  </a:cubicBezTo>
                  <a:cubicBezTo>
                    <a:pt x="26" y="38"/>
                    <a:pt x="26" y="42"/>
                    <a:pt x="26" y="46"/>
                  </a:cubicBezTo>
                  <a:cubicBezTo>
                    <a:pt x="26" y="99"/>
                    <a:pt x="26" y="99"/>
                    <a:pt x="26" y="99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7" y="7"/>
                    <a:pt x="28" y="6"/>
                    <a:pt x="30" y="5"/>
                  </a:cubicBezTo>
                  <a:cubicBezTo>
                    <a:pt x="31" y="4"/>
                    <a:pt x="33" y="3"/>
                    <a:pt x="35" y="2"/>
                  </a:cubicBezTo>
                  <a:cubicBezTo>
                    <a:pt x="37" y="2"/>
                    <a:pt x="39" y="1"/>
                    <a:pt x="42" y="1"/>
                  </a:cubicBezTo>
                  <a:cubicBezTo>
                    <a:pt x="44" y="0"/>
                    <a:pt x="46" y="0"/>
                    <a:pt x="49" y="0"/>
                  </a:cubicBezTo>
                  <a:cubicBezTo>
                    <a:pt x="55" y="0"/>
                    <a:pt x="60" y="1"/>
                    <a:pt x="65" y="3"/>
                  </a:cubicBezTo>
                  <a:cubicBezTo>
                    <a:pt x="69" y="5"/>
                    <a:pt x="73" y="8"/>
                    <a:pt x="76" y="12"/>
                  </a:cubicBezTo>
                  <a:cubicBezTo>
                    <a:pt x="79" y="16"/>
                    <a:pt x="81" y="20"/>
                    <a:pt x="82" y="26"/>
                  </a:cubicBezTo>
                  <a:cubicBezTo>
                    <a:pt x="84" y="31"/>
                    <a:pt x="85" y="38"/>
                    <a:pt x="85" y="44"/>
                  </a:cubicBezTo>
                  <a:cubicBezTo>
                    <a:pt x="85" y="99"/>
                    <a:pt x="85" y="99"/>
                    <a:pt x="85" y="99"/>
                  </a:cubicBezTo>
                  <a:lnTo>
                    <a:pt x="59" y="9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04" name="Freeform 20">
              <a:extLst>
                <a:ext uri="{FF2B5EF4-FFF2-40B4-BE49-F238E27FC236}">
                  <a16:creationId xmlns:a16="http://schemas.microsoft.com/office/drawing/2014/main" id="{EEA96631-7CCE-49D6-A700-D76FF986E47F}"/>
                </a:ext>
              </a:extLst>
            </p:cNvPr>
            <p:cNvSpPr>
              <a:spLocks noEditPoints="1"/>
            </p:cNvSpPr>
            <p:nvPr/>
          </p:nvSpPr>
          <p:spPr bwMode="white">
            <a:xfrm>
              <a:off x="9880823" y="1410902"/>
              <a:ext cx="71912" cy="87602"/>
            </a:xfrm>
            <a:custGeom>
              <a:avLst/>
              <a:gdLst>
                <a:gd name="T0" fmla="*/ 105 w 105"/>
                <a:gd name="T1" fmla="*/ 64 h 129"/>
                <a:gd name="T2" fmla="*/ 103 w 105"/>
                <a:gd name="T3" fmla="*/ 85 h 129"/>
                <a:gd name="T4" fmla="*/ 96 w 105"/>
                <a:gd name="T5" fmla="*/ 101 h 129"/>
                <a:gd name="T6" fmla="*/ 85 w 105"/>
                <a:gd name="T7" fmla="*/ 114 h 129"/>
                <a:gd name="T8" fmla="*/ 71 w 105"/>
                <a:gd name="T9" fmla="*/ 122 h 129"/>
                <a:gd name="T10" fmla="*/ 55 w 105"/>
                <a:gd name="T11" fmla="*/ 128 h 129"/>
                <a:gd name="T12" fmla="*/ 39 w 105"/>
                <a:gd name="T13" fmla="*/ 129 h 129"/>
                <a:gd name="T14" fmla="*/ 0 w 105"/>
                <a:gd name="T15" fmla="*/ 129 h 129"/>
                <a:gd name="T16" fmla="*/ 0 w 105"/>
                <a:gd name="T17" fmla="*/ 0 h 129"/>
                <a:gd name="T18" fmla="*/ 41 w 105"/>
                <a:gd name="T19" fmla="*/ 0 h 129"/>
                <a:gd name="T20" fmla="*/ 67 w 105"/>
                <a:gd name="T21" fmla="*/ 3 h 129"/>
                <a:gd name="T22" fmla="*/ 87 w 105"/>
                <a:gd name="T23" fmla="*/ 14 h 129"/>
                <a:gd name="T24" fmla="*/ 100 w 105"/>
                <a:gd name="T25" fmla="*/ 34 h 129"/>
                <a:gd name="T26" fmla="*/ 105 w 105"/>
                <a:gd name="T27" fmla="*/ 64 h 129"/>
                <a:gd name="T28" fmla="*/ 79 w 105"/>
                <a:gd name="T29" fmla="*/ 64 h 129"/>
                <a:gd name="T30" fmla="*/ 76 w 105"/>
                <a:gd name="T31" fmla="*/ 47 h 129"/>
                <a:gd name="T32" fmla="*/ 70 w 105"/>
                <a:gd name="T33" fmla="*/ 35 h 129"/>
                <a:gd name="T34" fmla="*/ 58 w 105"/>
                <a:gd name="T35" fmla="*/ 27 h 129"/>
                <a:gd name="T36" fmla="*/ 40 w 105"/>
                <a:gd name="T37" fmla="*/ 25 h 129"/>
                <a:gd name="T38" fmla="*/ 26 w 105"/>
                <a:gd name="T39" fmla="*/ 25 h 129"/>
                <a:gd name="T40" fmla="*/ 26 w 105"/>
                <a:gd name="T41" fmla="*/ 104 h 129"/>
                <a:gd name="T42" fmla="*/ 39 w 105"/>
                <a:gd name="T43" fmla="*/ 104 h 129"/>
                <a:gd name="T44" fmla="*/ 57 w 105"/>
                <a:gd name="T45" fmla="*/ 101 h 129"/>
                <a:gd name="T46" fmla="*/ 69 w 105"/>
                <a:gd name="T47" fmla="*/ 93 h 129"/>
                <a:gd name="T48" fmla="*/ 76 w 105"/>
                <a:gd name="T49" fmla="*/ 81 h 129"/>
                <a:gd name="T50" fmla="*/ 79 w 105"/>
                <a:gd name="T51" fmla="*/ 64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5" h="129">
                  <a:moveTo>
                    <a:pt x="105" y="64"/>
                  </a:moveTo>
                  <a:cubicBezTo>
                    <a:pt x="105" y="72"/>
                    <a:pt x="104" y="79"/>
                    <a:pt x="103" y="85"/>
                  </a:cubicBezTo>
                  <a:cubicBezTo>
                    <a:pt x="101" y="91"/>
                    <a:pt x="99" y="97"/>
                    <a:pt x="96" y="101"/>
                  </a:cubicBezTo>
                  <a:cubicBezTo>
                    <a:pt x="92" y="106"/>
                    <a:pt x="89" y="110"/>
                    <a:pt x="85" y="114"/>
                  </a:cubicBezTo>
                  <a:cubicBezTo>
                    <a:pt x="80" y="117"/>
                    <a:pt x="76" y="120"/>
                    <a:pt x="71" y="122"/>
                  </a:cubicBezTo>
                  <a:cubicBezTo>
                    <a:pt x="66" y="125"/>
                    <a:pt x="61" y="126"/>
                    <a:pt x="55" y="128"/>
                  </a:cubicBezTo>
                  <a:cubicBezTo>
                    <a:pt x="50" y="129"/>
                    <a:pt x="44" y="129"/>
                    <a:pt x="39" y="129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50" y="0"/>
                    <a:pt x="59" y="1"/>
                    <a:pt x="67" y="3"/>
                  </a:cubicBezTo>
                  <a:cubicBezTo>
                    <a:pt x="74" y="5"/>
                    <a:pt x="81" y="9"/>
                    <a:pt x="87" y="14"/>
                  </a:cubicBezTo>
                  <a:cubicBezTo>
                    <a:pt x="93" y="19"/>
                    <a:pt x="97" y="26"/>
                    <a:pt x="100" y="34"/>
                  </a:cubicBezTo>
                  <a:cubicBezTo>
                    <a:pt x="104" y="43"/>
                    <a:pt x="105" y="53"/>
                    <a:pt x="105" y="64"/>
                  </a:cubicBezTo>
                  <a:close/>
                  <a:moveTo>
                    <a:pt x="79" y="64"/>
                  </a:moveTo>
                  <a:cubicBezTo>
                    <a:pt x="79" y="58"/>
                    <a:pt x="78" y="52"/>
                    <a:pt x="76" y="47"/>
                  </a:cubicBezTo>
                  <a:cubicBezTo>
                    <a:pt x="75" y="42"/>
                    <a:pt x="73" y="38"/>
                    <a:pt x="70" y="35"/>
                  </a:cubicBezTo>
                  <a:cubicBezTo>
                    <a:pt x="66" y="31"/>
                    <a:pt x="62" y="29"/>
                    <a:pt x="58" y="27"/>
                  </a:cubicBezTo>
                  <a:cubicBezTo>
                    <a:pt x="53" y="26"/>
                    <a:pt x="47" y="25"/>
                    <a:pt x="40" y="25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6" y="104"/>
                    <a:pt x="26" y="104"/>
                    <a:pt x="26" y="104"/>
                  </a:cubicBezTo>
                  <a:cubicBezTo>
                    <a:pt x="39" y="104"/>
                    <a:pt x="39" y="104"/>
                    <a:pt x="39" y="104"/>
                  </a:cubicBezTo>
                  <a:cubicBezTo>
                    <a:pt x="46" y="104"/>
                    <a:pt x="52" y="103"/>
                    <a:pt x="57" y="101"/>
                  </a:cubicBezTo>
                  <a:cubicBezTo>
                    <a:pt x="62" y="99"/>
                    <a:pt x="66" y="97"/>
                    <a:pt x="69" y="93"/>
                  </a:cubicBezTo>
                  <a:cubicBezTo>
                    <a:pt x="72" y="90"/>
                    <a:pt x="75" y="85"/>
                    <a:pt x="76" y="81"/>
                  </a:cubicBezTo>
                  <a:cubicBezTo>
                    <a:pt x="78" y="76"/>
                    <a:pt x="79" y="70"/>
                    <a:pt x="79" y="6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05" name="Freeform 21">
              <a:extLst>
                <a:ext uri="{FF2B5EF4-FFF2-40B4-BE49-F238E27FC236}">
                  <a16:creationId xmlns:a16="http://schemas.microsoft.com/office/drawing/2014/main" id="{4BB24B6E-8D3D-449A-850B-52F8A8EF40A7}"/>
                </a:ext>
              </a:extLst>
            </p:cNvPr>
            <p:cNvSpPr>
              <a:spLocks noEditPoints="1"/>
            </p:cNvSpPr>
            <p:nvPr/>
          </p:nvSpPr>
          <p:spPr bwMode="white">
            <a:xfrm>
              <a:off x="9964502" y="1430515"/>
              <a:ext cx="56222" cy="69297"/>
            </a:xfrm>
            <a:custGeom>
              <a:avLst/>
              <a:gdLst>
                <a:gd name="T0" fmla="*/ 84 w 84"/>
                <a:gd name="T1" fmla="*/ 51 h 101"/>
                <a:gd name="T2" fmla="*/ 84 w 84"/>
                <a:gd name="T3" fmla="*/ 55 h 101"/>
                <a:gd name="T4" fmla="*/ 84 w 84"/>
                <a:gd name="T5" fmla="*/ 59 h 101"/>
                <a:gd name="T6" fmla="*/ 26 w 84"/>
                <a:gd name="T7" fmla="*/ 59 h 101"/>
                <a:gd name="T8" fmla="*/ 28 w 84"/>
                <a:gd name="T9" fmla="*/ 67 h 101"/>
                <a:gd name="T10" fmla="*/ 32 w 84"/>
                <a:gd name="T11" fmla="*/ 73 h 101"/>
                <a:gd name="T12" fmla="*/ 39 w 84"/>
                <a:gd name="T13" fmla="*/ 76 h 101"/>
                <a:gd name="T14" fmla="*/ 46 w 84"/>
                <a:gd name="T15" fmla="*/ 77 h 101"/>
                <a:gd name="T16" fmla="*/ 50 w 84"/>
                <a:gd name="T17" fmla="*/ 77 h 101"/>
                <a:gd name="T18" fmla="*/ 55 w 84"/>
                <a:gd name="T19" fmla="*/ 75 h 101"/>
                <a:gd name="T20" fmla="*/ 59 w 84"/>
                <a:gd name="T21" fmla="*/ 73 h 101"/>
                <a:gd name="T22" fmla="*/ 62 w 84"/>
                <a:gd name="T23" fmla="*/ 70 h 101"/>
                <a:gd name="T24" fmla="*/ 80 w 84"/>
                <a:gd name="T25" fmla="*/ 85 h 101"/>
                <a:gd name="T26" fmla="*/ 74 w 84"/>
                <a:gd name="T27" fmla="*/ 92 h 101"/>
                <a:gd name="T28" fmla="*/ 65 w 84"/>
                <a:gd name="T29" fmla="*/ 97 h 101"/>
                <a:gd name="T30" fmla="*/ 55 w 84"/>
                <a:gd name="T31" fmla="*/ 100 h 101"/>
                <a:gd name="T32" fmla="*/ 46 w 84"/>
                <a:gd name="T33" fmla="*/ 101 h 101"/>
                <a:gd name="T34" fmla="*/ 31 w 84"/>
                <a:gd name="T35" fmla="*/ 99 h 101"/>
                <a:gd name="T36" fmla="*/ 20 w 84"/>
                <a:gd name="T37" fmla="*/ 94 h 101"/>
                <a:gd name="T38" fmla="*/ 12 w 84"/>
                <a:gd name="T39" fmla="*/ 87 h 101"/>
                <a:gd name="T40" fmla="*/ 5 w 84"/>
                <a:gd name="T41" fmla="*/ 77 h 101"/>
                <a:gd name="T42" fmla="*/ 1 w 84"/>
                <a:gd name="T43" fmla="*/ 65 h 101"/>
                <a:gd name="T44" fmla="*/ 0 w 84"/>
                <a:gd name="T45" fmla="*/ 51 h 101"/>
                <a:gd name="T46" fmla="*/ 3 w 84"/>
                <a:gd name="T47" fmla="*/ 30 h 101"/>
                <a:gd name="T48" fmla="*/ 12 w 84"/>
                <a:gd name="T49" fmla="*/ 14 h 101"/>
                <a:gd name="T50" fmla="*/ 26 w 84"/>
                <a:gd name="T51" fmla="*/ 4 h 101"/>
                <a:gd name="T52" fmla="*/ 43 w 84"/>
                <a:gd name="T53" fmla="*/ 0 h 101"/>
                <a:gd name="T54" fmla="*/ 61 w 84"/>
                <a:gd name="T55" fmla="*/ 4 h 101"/>
                <a:gd name="T56" fmla="*/ 73 w 84"/>
                <a:gd name="T57" fmla="*/ 15 h 101"/>
                <a:gd name="T58" fmla="*/ 81 w 84"/>
                <a:gd name="T59" fmla="*/ 31 h 101"/>
                <a:gd name="T60" fmla="*/ 84 w 84"/>
                <a:gd name="T61" fmla="*/ 51 h 101"/>
                <a:gd name="T62" fmla="*/ 59 w 84"/>
                <a:gd name="T63" fmla="*/ 40 h 101"/>
                <a:gd name="T64" fmla="*/ 58 w 84"/>
                <a:gd name="T65" fmla="*/ 33 h 101"/>
                <a:gd name="T66" fmla="*/ 55 w 84"/>
                <a:gd name="T67" fmla="*/ 28 h 101"/>
                <a:gd name="T68" fmla="*/ 49 w 84"/>
                <a:gd name="T69" fmla="*/ 24 h 101"/>
                <a:gd name="T70" fmla="*/ 42 w 84"/>
                <a:gd name="T71" fmla="*/ 22 h 101"/>
                <a:gd name="T72" fmla="*/ 36 w 84"/>
                <a:gd name="T73" fmla="*/ 24 h 101"/>
                <a:gd name="T74" fmla="*/ 31 w 84"/>
                <a:gd name="T75" fmla="*/ 27 h 101"/>
                <a:gd name="T76" fmla="*/ 28 w 84"/>
                <a:gd name="T77" fmla="*/ 33 h 101"/>
                <a:gd name="T78" fmla="*/ 26 w 84"/>
                <a:gd name="T79" fmla="*/ 40 h 101"/>
                <a:gd name="T80" fmla="*/ 59 w 84"/>
                <a:gd name="T81" fmla="*/ 4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4" h="101">
                  <a:moveTo>
                    <a:pt x="84" y="51"/>
                  </a:moveTo>
                  <a:cubicBezTo>
                    <a:pt x="84" y="52"/>
                    <a:pt x="84" y="54"/>
                    <a:pt x="84" y="55"/>
                  </a:cubicBezTo>
                  <a:cubicBezTo>
                    <a:pt x="84" y="57"/>
                    <a:pt x="84" y="58"/>
                    <a:pt x="84" y="59"/>
                  </a:cubicBezTo>
                  <a:cubicBezTo>
                    <a:pt x="26" y="59"/>
                    <a:pt x="26" y="59"/>
                    <a:pt x="26" y="59"/>
                  </a:cubicBezTo>
                  <a:cubicBezTo>
                    <a:pt x="26" y="62"/>
                    <a:pt x="27" y="65"/>
                    <a:pt x="28" y="67"/>
                  </a:cubicBezTo>
                  <a:cubicBezTo>
                    <a:pt x="29" y="70"/>
                    <a:pt x="31" y="71"/>
                    <a:pt x="32" y="73"/>
                  </a:cubicBezTo>
                  <a:cubicBezTo>
                    <a:pt x="34" y="74"/>
                    <a:pt x="36" y="75"/>
                    <a:pt x="39" y="76"/>
                  </a:cubicBezTo>
                  <a:cubicBezTo>
                    <a:pt x="41" y="77"/>
                    <a:pt x="43" y="77"/>
                    <a:pt x="46" y="77"/>
                  </a:cubicBezTo>
                  <a:cubicBezTo>
                    <a:pt x="47" y="77"/>
                    <a:pt x="49" y="77"/>
                    <a:pt x="50" y="77"/>
                  </a:cubicBezTo>
                  <a:cubicBezTo>
                    <a:pt x="52" y="76"/>
                    <a:pt x="54" y="76"/>
                    <a:pt x="55" y="75"/>
                  </a:cubicBezTo>
                  <a:cubicBezTo>
                    <a:pt x="57" y="75"/>
                    <a:pt x="58" y="74"/>
                    <a:pt x="59" y="73"/>
                  </a:cubicBezTo>
                  <a:cubicBezTo>
                    <a:pt x="60" y="72"/>
                    <a:pt x="61" y="71"/>
                    <a:pt x="62" y="70"/>
                  </a:cubicBezTo>
                  <a:cubicBezTo>
                    <a:pt x="80" y="85"/>
                    <a:pt x="80" y="85"/>
                    <a:pt x="80" y="85"/>
                  </a:cubicBezTo>
                  <a:cubicBezTo>
                    <a:pt x="78" y="88"/>
                    <a:pt x="76" y="90"/>
                    <a:pt x="74" y="92"/>
                  </a:cubicBezTo>
                  <a:cubicBezTo>
                    <a:pt x="71" y="94"/>
                    <a:pt x="68" y="96"/>
                    <a:pt x="65" y="97"/>
                  </a:cubicBezTo>
                  <a:cubicBezTo>
                    <a:pt x="62" y="98"/>
                    <a:pt x="59" y="99"/>
                    <a:pt x="55" y="100"/>
                  </a:cubicBezTo>
                  <a:cubicBezTo>
                    <a:pt x="52" y="101"/>
                    <a:pt x="49" y="101"/>
                    <a:pt x="46" y="101"/>
                  </a:cubicBezTo>
                  <a:cubicBezTo>
                    <a:pt x="40" y="101"/>
                    <a:pt x="35" y="101"/>
                    <a:pt x="31" y="99"/>
                  </a:cubicBezTo>
                  <a:cubicBezTo>
                    <a:pt x="27" y="98"/>
                    <a:pt x="23" y="96"/>
                    <a:pt x="20" y="94"/>
                  </a:cubicBezTo>
                  <a:cubicBezTo>
                    <a:pt x="17" y="92"/>
                    <a:pt x="14" y="89"/>
                    <a:pt x="12" y="87"/>
                  </a:cubicBezTo>
                  <a:cubicBezTo>
                    <a:pt x="9" y="84"/>
                    <a:pt x="7" y="80"/>
                    <a:pt x="5" y="77"/>
                  </a:cubicBezTo>
                  <a:cubicBezTo>
                    <a:pt x="4" y="73"/>
                    <a:pt x="2" y="69"/>
                    <a:pt x="1" y="65"/>
                  </a:cubicBezTo>
                  <a:cubicBezTo>
                    <a:pt x="0" y="61"/>
                    <a:pt x="0" y="56"/>
                    <a:pt x="0" y="51"/>
                  </a:cubicBezTo>
                  <a:cubicBezTo>
                    <a:pt x="0" y="43"/>
                    <a:pt x="1" y="36"/>
                    <a:pt x="3" y="30"/>
                  </a:cubicBezTo>
                  <a:cubicBezTo>
                    <a:pt x="5" y="24"/>
                    <a:pt x="8" y="19"/>
                    <a:pt x="12" y="14"/>
                  </a:cubicBezTo>
                  <a:cubicBezTo>
                    <a:pt x="16" y="10"/>
                    <a:pt x="21" y="6"/>
                    <a:pt x="26" y="4"/>
                  </a:cubicBezTo>
                  <a:cubicBezTo>
                    <a:pt x="31" y="1"/>
                    <a:pt x="37" y="0"/>
                    <a:pt x="43" y="0"/>
                  </a:cubicBezTo>
                  <a:cubicBezTo>
                    <a:pt x="50" y="0"/>
                    <a:pt x="55" y="1"/>
                    <a:pt x="61" y="4"/>
                  </a:cubicBezTo>
                  <a:cubicBezTo>
                    <a:pt x="66" y="7"/>
                    <a:pt x="70" y="10"/>
                    <a:pt x="73" y="15"/>
                  </a:cubicBezTo>
                  <a:cubicBezTo>
                    <a:pt x="77" y="19"/>
                    <a:pt x="79" y="25"/>
                    <a:pt x="81" y="31"/>
                  </a:cubicBezTo>
                  <a:cubicBezTo>
                    <a:pt x="83" y="37"/>
                    <a:pt x="84" y="44"/>
                    <a:pt x="84" y="51"/>
                  </a:cubicBezTo>
                  <a:close/>
                  <a:moveTo>
                    <a:pt x="59" y="40"/>
                  </a:moveTo>
                  <a:cubicBezTo>
                    <a:pt x="59" y="37"/>
                    <a:pt x="59" y="35"/>
                    <a:pt x="58" y="33"/>
                  </a:cubicBezTo>
                  <a:cubicBezTo>
                    <a:pt x="57" y="31"/>
                    <a:pt x="56" y="29"/>
                    <a:pt x="55" y="28"/>
                  </a:cubicBezTo>
                  <a:cubicBezTo>
                    <a:pt x="53" y="26"/>
                    <a:pt x="51" y="25"/>
                    <a:pt x="49" y="24"/>
                  </a:cubicBezTo>
                  <a:cubicBezTo>
                    <a:pt x="47" y="23"/>
                    <a:pt x="45" y="22"/>
                    <a:pt x="42" y="22"/>
                  </a:cubicBezTo>
                  <a:cubicBezTo>
                    <a:pt x="40" y="22"/>
                    <a:pt x="37" y="23"/>
                    <a:pt x="36" y="24"/>
                  </a:cubicBezTo>
                  <a:cubicBezTo>
                    <a:pt x="34" y="24"/>
                    <a:pt x="32" y="26"/>
                    <a:pt x="31" y="27"/>
                  </a:cubicBezTo>
                  <a:cubicBezTo>
                    <a:pt x="29" y="29"/>
                    <a:pt x="28" y="31"/>
                    <a:pt x="28" y="33"/>
                  </a:cubicBezTo>
                  <a:cubicBezTo>
                    <a:pt x="27" y="35"/>
                    <a:pt x="26" y="37"/>
                    <a:pt x="26" y="40"/>
                  </a:cubicBezTo>
                  <a:lnTo>
                    <a:pt x="59" y="4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06" name="Freeform 22">
              <a:extLst>
                <a:ext uri="{FF2B5EF4-FFF2-40B4-BE49-F238E27FC236}">
                  <a16:creationId xmlns:a16="http://schemas.microsoft.com/office/drawing/2014/main" id="{767CA49F-CF78-4517-9D40-459A6165DB66}"/>
                </a:ext>
              </a:extLst>
            </p:cNvPr>
            <p:cNvSpPr>
              <a:spLocks/>
            </p:cNvSpPr>
            <p:nvPr/>
          </p:nvSpPr>
          <p:spPr bwMode="white">
            <a:xfrm>
              <a:off x="10035106" y="1431822"/>
              <a:ext cx="57529" cy="67989"/>
            </a:xfrm>
            <a:custGeom>
              <a:avLst/>
              <a:gdLst>
                <a:gd name="T0" fmla="*/ 58 w 84"/>
                <a:gd name="T1" fmla="*/ 97 h 99"/>
                <a:gd name="T2" fmla="*/ 58 w 84"/>
                <a:gd name="T3" fmla="*/ 91 h 99"/>
                <a:gd name="T4" fmla="*/ 49 w 84"/>
                <a:gd name="T5" fmla="*/ 97 h 99"/>
                <a:gd name="T6" fmla="*/ 35 w 84"/>
                <a:gd name="T7" fmla="*/ 99 h 99"/>
                <a:gd name="T8" fmla="*/ 9 w 84"/>
                <a:gd name="T9" fmla="*/ 88 h 99"/>
                <a:gd name="T10" fmla="*/ 0 w 84"/>
                <a:gd name="T11" fmla="*/ 55 h 99"/>
                <a:gd name="T12" fmla="*/ 0 w 84"/>
                <a:gd name="T13" fmla="*/ 0 h 99"/>
                <a:gd name="T14" fmla="*/ 25 w 84"/>
                <a:gd name="T15" fmla="*/ 0 h 99"/>
                <a:gd name="T16" fmla="*/ 25 w 84"/>
                <a:gd name="T17" fmla="*/ 52 h 99"/>
                <a:gd name="T18" fmla="*/ 29 w 84"/>
                <a:gd name="T19" fmla="*/ 70 h 99"/>
                <a:gd name="T20" fmla="*/ 42 w 84"/>
                <a:gd name="T21" fmla="*/ 75 h 99"/>
                <a:gd name="T22" fmla="*/ 54 w 84"/>
                <a:gd name="T23" fmla="*/ 70 h 99"/>
                <a:gd name="T24" fmla="*/ 58 w 84"/>
                <a:gd name="T25" fmla="*/ 53 h 99"/>
                <a:gd name="T26" fmla="*/ 58 w 84"/>
                <a:gd name="T27" fmla="*/ 0 h 99"/>
                <a:gd name="T28" fmla="*/ 84 w 84"/>
                <a:gd name="T29" fmla="*/ 0 h 99"/>
                <a:gd name="T30" fmla="*/ 84 w 84"/>
                <a:gd name="T31" fmla="*/ 97 h 99"/>
                <a:gd name="T32" fmla="*/ 58 w 84"/>
                <a:gd name="T33" fmla="*/ 97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4" h="99">
                  <a:moveTo>
                    <a:pt x="58" y="97"/>
                  </a:moveTo>
                  <a:cubicBezTo>
                    <a:pt x="58" y="91"/>
                    <a:pt x="58" y="91"/>
                    <a:pt x="58" y="91"/>
                  </a:cubicBezTo>
                  <a:cubicBezTo>
                    <a:pt x="56" y="93"/>
                    <a:pt x="53" y="95"/>
                    <a:pt x="49" y="97"/>
                  </a:cubicBezTo>
                  <a:cubicBezTo>
                    <a:pt x="45" y="98"/>
                    <a:pt x="41" y="99"/>
                    <a:pt x="35" y="99"/>
                  </a:cubicBezTo>
                  <a:cubicBezTo>
                    <a:pt x="24" y="99"/>
                    <a:pt x="15" y="95"/>
                    <a:pt x="9" y="88"/>
                  </a:cubicBezTo>
                  <a:cubicBezTo>
                    <a:pt x="3" y="80"/>
                    <a:pt x="0" y="69"/>
                    <a:pt x="0" y="5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52"/>
                    <a:pt x="25" y="52"/>
                    <a:pt x="25" y="52"/>
                  </a:cubicBezTo>
                  <a:cubicBezTo>
                    <a:pt x="25" y="60"/>
                    <a:pt x="26" y="66"/>
                    <a:pt x="29" y="70"/>
                  </a:cubicBezTo>
                  <a:cubicBezTo>
                    <a:pt x="31" y="73"/>
                    <a:pt x="36" y="75"/>
                    <a:pt x="42" y="75"/>
                  </a:cubicBezTo>
                  <a:cubicBezTo>
                    <a:pt x="48" y="75"/>
                    <a:pt x="52" y="73"/>
                    <a:pt x="54" y="70"/>
                  </a:cubicBezTo>
                  <a:cubicBezTo>
                    <a:pt x="57" y="66"/>
                    <a:pt x="58" y="60"/>
                    <a:pt x="58" y="53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97"/>
                    <a:pt x="84" y="97"/>
                    <a:pt x="84" y="97"/>
                  </a:cubicBezTo>
                  <a:lnTo>
                    <a:pt x="58" y="9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07" name="Freeform 23">
              <a:extLst>
                <a:ext uri="{FF2B5EF4-FFF2-40B4-BE49-F238E27FC236}">
                  <a16:creationId xmlns:a16="http://schemas.microsoft.com/office/drawing/2014/main" id="{BCE97B83-65DD-49DB-AC39-56BB28ACA966}"/>
                </a:ext>
              </a:extLst>
            </p:cNvPr>
            <p:cNvSpPr>
              <a:spLocks/>
            </p:cNvSpPr>
            <p:nvPr/>
          </p:nvSpPr>
          <p:spPr bwMode="white">
            <a:xfrm>
              <a:off x="10104403" y="1406980"/>
              <a:ext cx="43148" cy="92832"/>
            </a:xfrm>
            <a:custGeom>
              <a:avLst/>
              <a:gdLst>
                <a:gd name="T0" fmla="*/ 62 w 65"/>
                <a:gd name="T1" fmla="*/ 131 h 137"/>
                <a:gd name="T2" fmla="*/ 53 w 65"/>
                <a:gd name="T3" fmla="*/ 135 h 137"/>
                <a:gd name="T4" fmla="*/ 42 w 65"/>
                <a:gd name="T5" fmla="*/ 137 h 137"/>
                <a:gd name="T6" fmla="*/ 31 w 65"/>
                <a:gd name="T7" fmla="*/ 135 h 137"/>
                <a:gd name="T8" fmla="*/ 23 w 65"/>
                <a:gd name="T9" fmla="*/ 129 h 137"/>
                <a:gd name="T10" fmla="*/ 18 w 65"/>
                <a:gd name="T11" fmla="*/ 120 h 137"/>
                <a:gd name="T12" fmla="*/ 16 w 65"/>
                <a:gd name="T13" fmla="*/ 108 h 137"/>
                <a:gd name="T14" fmla="*/ 16 w 65"/>
                <a:gd name="T15" fmla="*/ 62 h 137"/>
                <a:gd name="T16" fmla="*/ 0 w 65"/>
                <a:gd name="T17" fmla="*/ 62 h 137"/>
                <a:gd name="T18" fmla="*/ 0 w 65"/>
                <a:gd name="T19" fmla="*/ 38 h 137"/>
                <a:gd name="T20" fmla="*/ 16 w 65"/>
                <a:gd name="T21" fmla="*/ 38 h 137"/>
                <a:gd name="T22" fmla="*/ 16 w 65"/>
                <a:gd name="T23" fmla="*/ 13 h 137"/>
                <a:gd name="T24" fmla="*/ 42 w 65"/>
                <a:gd name="T25" fmla="*/ 0 h 137"/>
                <a:gd name="T26" fmla="*/ 42 w 65"/>
                <a:gd name="T27" fmla="*/ 38 h 137"/>
                <a:gd name="T28" fmla="*/ 65 w 65"/>
                <a:gd name="T29" fmla="*/ 38 h 137"/>
                <a:gd name="T30" fmla="*/ 65 w 65"/>
                <a:gd name="T31" fmla="*/ 62 h 137"/>
                <a:gd name="T32" fmla="*/ 42 w 65"/>
                <a:gd name="T33" fmla="*/ 62 h 137"/>
                <a:gd name="T34" fmla="*/ 42 w 65"/>
                <a:gd name="T35" fmla="*/ 101 h 137"/>
                <a:gd name="T36" fmla="*/ 42 w 65"/>
                <a:gd name="T37" fmla="*/ 107 h 137"/>
                <a:gd name="T38" fmla="*/ 44 w 65"/>
                <a:gd name="T39" fmla="*/ 110 h 137"/>
                <a:gd name="T40" fmla="*/ 47 w 65"/>
                <a:gd name="T41" fmla="*/ 112 h 137"/>
                <a:gd name="T42" fmla="*/ 51 w 65"/>
                <a:gd name="T43" fmla="*/ 113 h 137"/>
                <a:gd name="T44" fmla="*/ 58 w 65"/>
                <a:gd name="T45" fmla="*/ 111 h 137"/>
                <a:gd name="T46" fmla="*/ 65 w 65"/>
                <a:gd name="T47" fmla="*/ 105 h 137"/>
                <a:gd name="T48" fmla="*/ 62 w 65"/>
                <a:gd name="T49" fmla="*/ 131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5" h="137">
                  <a:moveTo>
                    <a:pt x="62" y="131"/>
                  </a:moveTo>
                  <a:cubicBezTo>
                    <a:pt x="60" y="133"/>
                    <a:pt x="57" y="134"/>
                    <a:pt x="53" y="135"/>
                  </a:cubicBezTo>
                  <a:cubicBezTo>
                    <a:pt x="50" y="137"/>
                    <a:pt x="46" y="137"/>
                    <a:pt x="42" y="137"/>
                  </a:cubicBezTo>
                  <a:cubicBezTo>
                    <a:pt x="38" y="137"/>
                    <a:pt x="34" y="136"/>
                    <a:pt x="31" y="135"/>
                  </a:cubicBezTo>
                  <a:cubicBezTo>
                    <a:pt x="28" y="134"/>
                    <a:pt x="25" y="132"/>
                    <a:pt x="23" y="129"/>
                  </a:cubicBezTo>
                  <a:cubicBezTo>
                    <a:pt x="21" y="126"/>
                    <a:pt x="19" y="123"/>
                    <a:pt x="18" y="120"/>
                  </a:cubicBezTo>
                  <a:cubicBezTo>
                    <a:pt x="17" y="116"/>
                    <a:pt x="16" y="112"/>
                    <a:pt x="16" y="108"/>
                  </a:cubicBezTo>
                  <a:cubicBezTo>
                    <a:pt x="16" y="62"/>
                    <a:pt x="16" y="62"/>
                    <a:pt x="16" y="62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38"/>
                    <a:pt x="42" y="38"/>
                    <a:pt x="42" y="38"/>
                  </a:cubicBezTo>
                  <a:cubicBezTo>
                    <a:pt x="65" y="38"/>
                    <a:pt x="65" y="38"/>
                    <a:pt x="65" y="38"/>
                  </a:cubicBezTo>
                  <a:cubicBezTo>
                    <a:pt x="65" y="62"/>
                    <a:pt x="65" y="62"/>
                    <a:pt x="65" y="62"/>
                  </a:cubicBezTo>
                  <a:cubicBezTo>
                    <a:pt x="42" y="62"/>
                    <a:pt x="42" y="62"/>
                    <a:pt x="42" y="62"/>
                  </a:cubicBezTo>
                  <a:cubicBezTo>
                    <a:pt x="42" y="101"/>
                    <a:pt x="42" y="101"/>
                    <a:pt x="42" y="101"/>
                  </a:cubicBezTo>
                  <a:cubicBezTo>
                    <a:pt x="42" y="103"/>
                    <a:pt x="42" y="105"/>
                    <a:pt x="42" y="107"/>
                  </a:cubicBezTo>
                  <a:cubicBezTo>
                    <a:pt x="43" y="108"/>
                    <a:pt x="43" y="110"/>
                    <a:pt x="44" y="110"/>
                  </a:cubicBezTo>
                  <a:cubicBezTo>
                    <a:pt x="45" y="111"/>
                    <a:pt x="46" y="112"/>
                    <a:pt x="47" y="112"/>
                  </a:cubicBezTo>
                  <a:cubicBezTo>
                    <a:pt x="48" y="113"/>
                    <a:pt x="49" y="113"/>
                    <a:pt x="51" y="113"/>
                  </a:cubicBezTo>
                  <a:cubicBezTo>
                    <a:pt x="53" y="113"/>
                    <a:pt x="55" y="112"/>
                    <a:pt x="58" y="111"/>
                  </a:cubicBezTo>
                  <a:cubicBezTo>
                    <a:pt x="60" y="110"/>
                    <a:pt x="62" y="108"/>
                    <a:pt x="65" y="105"/>
                  </a:cubicBezTo>
                  <a:lnTo>
                    <a:pt x="62" y="13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08" name="Freeform 24">
              <a:extLst>
                <a:ext uri="{FF2B5EF4-FFF2-40B4-BE49-F238E27FC236}">
                  <a16:creationId xmlns:a16="http://schemas.microsoft.com/office/drawing/2014/main" id="{3A70ECD6-5CB1-4ABC-BD20-5CD3C4FFDF5E}"/>
                </a:ext>
              </a:extLst>
            </p:cNvPr>
            <p:cNvSpPr>
              <a:spLocks/>
            </p:cNvSpPr>
            <p:nvPr/>
          </p:nvSpPr>
          <p:spPr bwMode="white">
            <a:xfrm>
              <a:off x="10160625" y="1430515"/>
              <a:ext cx="56222" cy="69297"/>
            </a:xfrm>
            <a:custGeom>
              <a:avLst/>
              <a:gdLst>
                <a:gd name="T0" fmla="*/ 78 w 81"/>
                <a:gd name="T1" fmla="*/ 9 h 101"/>
                <a:gd name="T2" fmla="*/ 70 w 81"/>
                <a:gd name="T3" fmla="*/ 30 h 101"/>
                <a:gd name="T4" fmla="*/ 55 w 81"/>
                <a:gd name="T5" fmla="*/ 24 h 101"/>
                <a:gd name="T6" fmla="*/ 41 w 81"/>
                <a:gd name="T7" fmla="*/ 22 h 101"/>
                <a:gd name="T8" fmla="*/ 31 w 81"/>
                <a:gd name="T9" fmla="*/ 23 h 101"/>
                <a:gd name="T10" fmla="*/ 28 w 81"/>
                <a:gd name="T11" fmla="*/ 28 h 101"/>
                <a:gd name="T12" fmla="*/ 29 w 81"/>
                <a:gd name="T13" fmla="*/ 31 h 101"/>
                <a:gd name="T14" fmla="*/ 32 w 81"/>
                <a:gd name="T15" fmla="*/ 33 h 101"/>
                <a:gd name="T16" fmla="*/ 38 w 81"/>
                <a:gd name="T17" fmla="*/ 36 h 101"/>
                <a:gd name="T18" fmla="*/ 48 w 81"/>
                <a:gd name="T19" fmla="*/ 39 h 101"/>
                <a:gd name="T20" fmla="*/ 61 w 81"/>
                <a:gd name="T21" fmla="*/ 44 h 101"/>
                <a:gd name="T22" fmla="*/ 71 w 81"/>
                <a:gd name="T23" fmla="*/ 50 h 101"/>
                <a:gd name="T24" fmla="*/ 78 w 81"/>
                <a:gd name="T25" fmla="*/ 59 h 101"/>
                <a:gd name="T26" fmla="*/ 81 w 81"/>
                <a:gd name="T27" fmla="*/ 71 h 101"/>
                <a:gd name="T28" fmla="*/ 78 w 81"/>
                <a:gd name="T29" fmla="*/ 85 h 101"/>
                <a:gd name="T30" fmla="*/ 69 w 81"/>
                <a:gd name="T31" fmla="*/ 94 h 101"/>
                <a:gd name="T32" fmla="*/ 57 w 81"/>
                <a:gd name="T33" fmla="*/ 100 h 101"/>
                <a:gd name="T34" fmla="*/ 41 w 81"/>
                <a:gd name="T35" fmla="*/ 101 h 101"/>
                <a:gd name="T36" fmla="*/ 19 w 81"/>
                <a:gd name="T37" fmla="*/ 98 h 101"/>
                <a:gd name="T38" fmla="*/ 0 w 81"/>
                <a:gd name="T39" fmla="*/ 90 h 101"/>
                <a:gd name="T40" fmla="*/ 9 w 81"/>
                <a:gd name="T41" fmla="*/ 70 h 101"/>
                <a:gd name="T42" fmla="*/ 25 w 81"/>
                <a:gd name="T43" fmla="*/ 77 h 101"/>
                <a:gd name="T44" fmla="*/ 43 w 81"/>
                <a:gd name="T45" fmla="*/ 79 h 101"/>
                <a:gd name="T46" fmla="*/ 53 w 81"/>
                <a:gd name="T47" fmla="*/ 78 h 101"/>
                <a:gd name="T48" fmla="*/ 56 w 81"/>
                <a:gd name="T49" fmla="*/ 72 h 101"/>
                <a:gd name="T50" fmla="*/ 55 w 81"/>
                <a:gd name="T51" fmla="*/ 69 h 101"/>
                <a:gd name="T52" fmla="*/ 53 w 81"/>
                <a:gd name="T53" fmla="*/ 67 h 101"/>
                <a:gd name="T54" fmla="*/ 48 w 81"/>
                <a:gd name="T55" fmla="*/ 64 h 101"/>
                <a:gd name="T56" fmla="*/ 41 w 81"/>
                <a:gd name="T57" fmla="*/ 62 h 101"/>
                <a:gd name="T58" fmla="*/ 26 w 81"/>
                <a:gd name="T59" fmla="*/ 57 h 101"/>
                <a:gd name="T60" fmla="*/ 13 w 81"/>
                <a:gd name="T61" fmla="*/ 51 h 101"/>
                <a:gd name="T62" fmla="*/ 6 w 81"/>
                <a:gd name="T63" fmla="*/ 42 h 101"/>
                <a:gd name="T64" fmla="*/ 3 w 81"/>
                <a:gd name="T65" fmla="*/ 29 h 101"/>
                <a:gd name="T66" fmla="*/ 6 w 81"/>
                <a:gd name="T67" fmla="*/ 16 h 101"/>
                <a:gd name="T68" fmla="*/ 14 w 81"/>
                <a:gd name="T69" fmla="*/ 7 h 101"/>
                <a:gd name="T70" fmla="*/ 26 w 81"/>
                <a:gd name="T71" fmla="*/ 2 h 101"/>
                <a:gd name="T72" fmla="*/ 42 w 81"/>
                <a:gd name="T73" fmla="*/ 0 h 101"/>
                <a:gd name="T74" fmla="*/ 61 w 81"/>
                <a:gd name="T75" fmla="*/ 3 h 101"/>
                <a:gd name="T76" fmla="*/ 78 w 81"/>
                <a:gd name="T77" fmla="*/ 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81" h="101">
                  <a:moveTo>
                    <a:pt x="78" y="9"/>
                  </a:moveTo>
                  <a:cubicBezTo>
                    <a:pt x="70" y="30"/>
                    <a:pt x="70" y="30"/>
                    <a:pt x="70" y="30"/>
                  </a:cubicBezTo>
                  <a:cubicBezTo>
                    <a:pt x="65" y="27"/>
                    <a:pt x="60" y="25"/>
                    <a:pt x="55" y="24"/>
                  </a:cubicBezTo>
                  <a:cubicBezTo>
                    <a:pt x="50" y="22"/>
                    <a:pt x="45" y="22"/>
                    <a:pt x="41" y="22"/>
                  </a:cubicBezTo>
                  <a:cubicBezTo>
                    <a:pt x="37" y="22"/>
                    <a:pt x="34" y="22"/>
                    <a:pt x="31" y="23"/>
                  </a:cubicBezTo>
                  <a:cubicBezTo>
                    <a:pt x="29" y="24"/>
                    <a:pt x="28" y="26"/>
                    <a:pt x="28" y="28"/>
                  </a:cubicBezTo>
                  <a:cubicBezTo>
                    <a:pt x="28" y="29"/>
                    <a:pt x="29" y="30"/>
                    <a:pt x="29" y="31"/>
                  </a:cubicBezTo>
                  <a:cubicBezTo>
                    <a:pt x="29" y="32"/>
                    <a:pt x="30" y="32"/>
                    <a:pt x="32" y="33"/>
                  </a:cubicBezTo>
                  <a:cubicBezTo>
                    <a:pt x="33" y="34"/>
                    <a:pt x="35" y="35"/>
                    <a:pt x="38" y="36"/>
                  </a:cubicBezTo>
                  <a:cubicBezTo>
                    <a:pt x="41" y="37"/>
                    <a:pt x="44" y="38"/>
                    <a:pt x="48" y="39"/>
                  </a:cubicBezTo>
                  <a:cubicBezTo>
                    <a:pt x="53" y="41"/>
                    <a:pt x="57" y="42"/>
                    <a:pt x="61" y="44"/>
                  </a:cubicBezTo>
                  <a:cubicBezTo>
                    <a:pt x="65" y="46"/>
                    <a:pt x="68" y="48"/>
                    <a:pt x="71" y="50"/>
                  </a:cubicBezTo>
                  <a:cubicBezTo>
                    <a:pt x="74" y="52"/>
                    <a:pt x="76" y="55"/>
                    <a:pt x="78" y="59"/>
                  </a:cubicBezTo>
                  <a:cubicBezTo>
                    <a:pt x="80" y="62"/>
                    <a:pt x="81" y="66"/>
                    <a:pt x="81" y="71"/>
                  </a:cubicBezTo>
                  <a:cubicBezTo>
                    <a:pt x="81" y="76"/>
                    <a:pt x="80" y="81"/>
                    <a:pt x="78" y="85"/>
                  </a:cubicBezTo>
                  <a:cubicBezTo>
                    <a:pt x="76" y="89"/>
                    <a:pt x="73" y="92"/>
                    <a:pt x="69" y="94"/>
                  </a:cubicBezTo>
                  <a:cubicBezTo>
                    <a:pt x="66" y="97"/>
                    <a:pt x="61" y="98"/>
                    <a:pt x="57" y="100"/>
                  </a:cubicBezTo>
                  <a:cubicBezTo>
                    <a:pt x="52" y="101"/>
                    <a:pt x="47" y="101"/>
                    <a:pt x="41" y="101"/>
                  </a:cubicBezTo>
                  <a:cubicBezTo>
                    <a:pt x="34" y="101"/>
                    <a:pt x="26" y="100"/>
                    <a:pt x="19" y="98"/>
                  </a:cubicBezTo>
                  <a:cubicBezTo>
                    <a:pt x="12" y="96"/>
                    <a:pt x="6" y="93"/>
                    <a:pt x="0" y="90"/>
                  </a:cubicBezTo>
                  <a:cubicBezTo>
                    <a:pt x="9" y="70"/>
                    <a:pt x="9" y="70"/>
                    <a:pt x="9" y="70"/>
                  </a:cubicBezTo>
                  <a:cubicBezTo>
                    <a:pt x="14" y="73"/>
                    <a:pt x="20" y="76"/>
                    <a:pt x="25" y="77"/>
                  </a:cubicBezTo>
                  <a:cubicBezTo>
                    <a:pt x="31" y="79"/>
                    <a:pt x="36" y="79"/>
                    <a:pt x="43" y="79"/>
                  </a:cubicBezTo>
                  <a:cubicBezTo>
                    <a:pt x="47" y="79"/>
                    <a:pt x="51" y="79"/>
                    <a:pt x="53" y="78"/>
                  </a:cubicBezTo>
                  <a:cubicBezTo>
                    <a:pt x="55" y="76"/>
                    <a:pt x="56" y="75"/>
                    <a:pt x="56" y="72"/>
                  </a:cubicBezTo>
                  <a:cubicBezTo>
                    <a:pt x="56" y="71"/>
                    <a:pt x="55" y="70"/>
                    <a:pt x="55" y="69"/>
                  </a:cubicBezTo>
                  <a:cubicBezTo>
                    <a:pt x="54" y="68"/>
                    <a:pt x="54" y="67"/>
                    <a:pt x="53" y="67"/>
                  </a:cubicBezTo>
                  <a:cubicBezTo>
                    <a:pt x="51" y="66"/>
                    <a:pt x="50" y="65"/>
                    <a:pt x="48" y="64"/>
                  </a:cubicBezTo>
                  <a:cubicBezTo>
                    <a:pt x="46" y="64"/>
                    <a:pt x="44" y="63"/>
                    <a:pt x="41" y="62"/>
                  </a:cubicBezTo>
                  <a:cubicBezTo>
                    <a:pt x="36" y="60"/>
                    <a:pt x="30" y="59"/>
                    <a:pt x="26" y="57"/>
                  </a:cubicBezTo>
                  <a:cubicBezTo>
                    <a:pt x="21" y="55"/>
                    <a:pt x="17" y="53"/>
                    <a:pt x="13" y="51"/>
                  </a:cubicBezTo>
                  <a:cubicBezTo>
                    <a:pt x="10" y="48"/>
                    <a:pt x="8" y="45"/>
                    <a:pt x="6" y="42"/>
                  </a:cubicBezTo>
                  <a:cubicBezTo>
                    <a:pt x="4" y="38"/>
                    <a:pt x="3" y="34"/>
                    <a:pt x="3" y="29"/>
                  </a:cubicBezTo>
                  <a:cubicBezTo>
                    <a:pt x="3" y="24"/>
                    <a:pt x="4" y="19"/>
                    <a:pt x="6" y="16"/>
                  </a:cubicBezTo>
                  <a:cubicBezTo>
                    <a:pt x="8" y="12"/>
                    <a:pt x="10" y="9"/>
                    <a:pt x="14" y="7"/>
                  </a:cubicBezTo>
                  <a:cubicBezTo>
                    <a:pt x="17" y="4"/>
                    <a:pt x="21" y="3"/>
                    <a:pt x="26" y="2"/>
                  </a:cubicBezTo>
                  <a:cubicBezTo>
                    <a:pt x="31" y="0"/>
                    <a:pt x="36" y="0"/>
                    <a:pt x="42" y="0"/>
                  </a:cubicBezTo>
                  <a:cubicBezTo>
                    <a:pt x="48" y="0"/>
                    <a:pt x="54" y="1"/>
                    <a:pt x="61" y="3"/>
                  </a:cubicBezTo>
                  <a:cubicBezTo>
                    <a:pt x="67" y="4"/>
                    <a:pt x="73" y="7"/>
                    <a:pt x="78" y="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09" name="Freeform 25">
              <a:extLst>
                <a:ext uri="{FF2B5EF4-FFF2-40B4-BE49-F238E27FC236}">
                  <a16:creationId xmlns:a16="http://schemas.microsoft.com/office/drawing/2014/main" id="{5A85C156-A249-4B2C-8A44-A8D8A3A0EEFE}"/>
                </a:ext>
              </a:extLst>
            </p:cNvPr>
            <p:cNvSpPr>
              <a:spLocks/>
            </p:cNvSpPr>
            <p:nvPr/>
          </p:nvSpPr>
          <p:spPr bwMode="white">
            <a:xfrm>
              <a:off x="10226000" y="1430515"/>
              <a:ext cx="58837" cy="69297"/>
            </a:xfrm>
            <a:custGeom>
              <a:avLst/>
              <a:gdLst>
                <a:gd name="T0" fmla="*/ 85 w 85"/>
                <a:gd name="T1" fmla="*/ 80 h 101"/>
                <a:gd name="T2" fmla="*/ 77 w 85"/>
                <a:gd name="T3" fmla="*/ 88 h 101"/>
                <a:gd name="T4" fmla="*/ 69 w 85"/>
                <a:gd name="T5" fmla="*/ 95 h 101"/>
                <a:gd name="T6" fmla="*/ 58 w 85"/>
                <a:gd name="T7" fmla="*/ 100 h 101"/>
                <a:gd name="T8" fmla="*/ 45 w 85"/>
                <a:gd name="T9" fmla="*/ 101 h 101"/>
                <a:gd name="T10" fmla="*/ 27 w 85"/>
                <a:gd name="T11" fmla="*/ 98 h 101"/>
                <a:gd name="T12" fmla="*/ 13 w 85"/>
                <a:gd name="T13" fmla="*/ 87 h 101"/>
                <a:gd name="T14" fmla="*/ 3 w 85"/>
                <a:gd name="T15" fmla="*/ 71 h 101"/>
                <a:gd name="T16" fmla="*/ 0 w 85"/>
                <a:gd name="T17" fmla="*/ 51 h 101"/>
                <a:gd name="T18" fmla="*/ 3 w 85"/>
                <a:gd name="T19" fmla="*/ 30 h 101"/>
                <a:gd name="T20" fmla="*/ 13 w 85"/>
                <a:gd name="T21" fmla="*/ 14 h 101"/>
                <a:gd name="T22" fmla="*/ 28 w 85"/>
                <a:gd name="T23" fmla="*/ 4 h 101"/>
                <a:gd name="T24" fmla="*/ 46 w 85"/>
                <a:gd name="T25" fmla="*/ 0 h 101"/>
                <a:gd name="T26" fmla="*/ 68 w 85"/>
                <a:gd name="T27" fmla="*/ 5 h 101"/>
                <a:gd name="T28" fmla="*/ 85 w 85"/>
                <a:gd name="T29" fmla="*/ 21 h 101"/>
                <a:gd name="T30" fmla="*/ 68 w 85"/>
                <a:gd name="T31" fmla="*/ 38 h 101"/>
                <a:gd name="T32" fmla="*/ 63 w 85"/>
                <a:gd name="T33" fmla="*/ 33 h 101"/>
                <a:gd name="T34" fmla="*/ 58 w 85"/>
                <a:gd name="T35" fmla="*/ 28 h 101"/>
                <a:gd name="T36" fmla="*/ 53 w 85"/>
                <a:gd name="T37" fmla="*/ 26 h 101"/>
                <a:gd name="T38" fmla="*/ 46 w 85"/>
                <a:gd name="T39" fmla="*/ 25 h 101"/>
                <a:gd name="T40" fmla="*/ 37 w 85"/>
                <a:gd name="T41" fmla="*/ 26 h 101"/>
                <a:gd name="T42" fmla="*/ 31 w 85"/>
                <a:gd name="T43" fmla="*/ 32 h 101"/>
                <a:gd name="T44" fmla="*/ 27 w 85"/>
                <a:gd name="T45" fmla="*/ 40 h 101"/>
                <a:gd name="T46" fmla="*/ 26 w 85"/>
                <a:gd name="T47" fmla="*/ 51 h 101"/>
                <a:gd name="T48" fmla="*/ 27 w 85"/>
                <a:gd name="T49" fmla="*/ 61 h 101"/>
                <a:gd name="T50" fmla="*/ 31 w 85"/>
                <a:gd name="T51" fmla="*/ 69 h 101"/>
                <a:gd name="T52" fmla="*/ 37 w 85"/>
                <a:gd name="T53" fmla="*/ 75 h 101"/>
                <a:gd name="T54" fmla="*/ 46 w 85"/>
                <a:gd name="T55" fmla="*/ 77 h 101"/>
                <a:gd name="T56" fmla="*/ 52 w 85"/>
                <a:gd name="T57" fmla="*/ 76 h 101"/>
                <a:gd name="T58" fmla="*/ 58 w 85"/>
                <a:gd name="T59" fmla="*/ 73 h 101"/>
                <a:gd name="T60" fmla="*/ 64 w 85"/>
                <a:gd name="T61" fmla="*/ 69 h 101"/>
                <a:gd name="T62" fmla="*/ 69 w 85"/>
                <a:gd name="T63" fmla="*/ 64 h 101"/>
                <a:gd name="T64" fmla="*/ 85 w 85"/>
                <a:gd name="T65" fmla="*/ 8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5" h="101">
                  <a:moveTo>
                    <a:pt x="85" y="80"/>
                  </a:moveTo>
                  <a:cubicBezTo>
                    <a:pt x="83" y="83"/>
                    <a:pt x="80" y="86"/>
                    <a:pt x="77" y="88"/>
                  </a:cubicBezTo>
                  <a:cubicBezTo>
                    <a:pt x="75" y="91"/>
                    <a:pt x="72" y="93"/>
                    <a:pt x="69" y="95"/>
                  </a:cubicBezTo>
                  <a:cubicBezTo>
                    <a:pt x="65" y="97"/>
                    <a:pt x="62" y="98"/>
                    <a:pt x="58" y="100"/>
                  </a:cubicBezTo>
                  <a:cubicBezTo>
                    <a:pt x="54" y="101"/>
                    <a:pt x="50" y="101"/>
                    <a:pt x="45" y="101"/>
                  </a:cubicBezTo>
                  <a:cubicBezTo>
                    <a:pt x="39" y="101"/>
                    <a:pt x="33" y="100"/>
                    <a:pt x="27" y="98"/>
                  </a:cubicBezTo>
                  <a:cubicBezTo>
                    <a:pt x="22" y="95"/>
                    <a:pt x="17" y="92"/>
                    <a:pt x="13" y="87"/>
                  </a:cubicBezTo>
                  <a:cubicBezTo>
                    <a:pt x="9" y="83"/>
                    <a:pt x="5" y="77"/>
                    <a:pt x="3" y="71"/>
                  </a:cubicBezTo>
                  <a:cubicBezTo>
                    <a:pt x="1" y="65"/>
                    <a:pt x="0" y="58"/>
                    <a:pt x="0" y="51"/>
                  </a:cubicBezTo>
                  <a:cubicBezTo>
                    <a:pt x="0" y="43"/>
                    <a:pt x="1" y="36"/>
                    <a:pt x="3" y="30"/>
                  </a:cubicBezTo>
                  <a:cubicBezTo>
                    <a:pt x="5" y="24"/>
                    <a:pt x="9" y="19"/>
                    <a:pt x="13" y="14"/>
                  </a:cubicBezTo>
                  <a:cubicBezTo>
                    <a:pt x="17" y="10"/>
                    <a:pt x="22" y="6"/>
                    <a:pt x="28" y="4"/>
                  </a:cubicBezTo>
                  <a:cubicBezTo>
                    <a:pt x="33" y="1"/>
                    <a:pt x="39" y="0"/>
                    <a:pt x="46" y="0"/>
                  </a:cubicBezTo>
                  <a:cubicBezTo>
                    <a:pt x="54" y="0"/>
                    <a:pt x="62" y="2"/>
                    <a:pt x="68" y="5"/>
                  </a:cubicBezTo>
                  <a:cubicBezTo>
                    <a:pt x="74" y="9"/>
                    <a:pt x="80" y="14"/>
                    <a:pt x="85" y="21"/>
                  </a:cubicBezTo>
                  <a:cubicBezTo>
                    <a:pt x="68" y="38"/>
                    <a:pt x="68" y="38"/>
                    <a:pt x="68" y="38"/>
                  </a:cubicBezTo>
                  <a:cubicBezTo>
                    <a:pt x="66" y="36"/>
                    <a:pt x="65" y="35"/>
                    <a:pt x="63" y="33"/>
                  </a:cubicBezTo>
                  <a:cubicBezTo>
                    <a:pt x="62" y="31"/>
                    <a:pt x="60" y="30"/>
                    <a:pt x="58" y="28"/>
                  </a:cubicBezTo>
                  <a:cubicBezTo>
                    <a:pt x="57" y="27"/>
                    <a:pt x="55" y="26"/>
                    <a:pt x="53" y="26"/>
                  </a:cubicBezTo>
                  <a:cubicBezTo>
                    <a:pt x="51" y="25"/>
                    <a:pt x="48" y="25"/>
                    <a:pt x="46" y="25"/>
                  </a:cubicBezTo>
                  <a:cubicBezTo>
                    <a:pt x="43" y="25"/>
                    <a:pt x="40" y="25"/>
                    <a:pt x="37" y="26"/>
                  </a:cubicBezTo>
                  <a:cubicBezTo>
                    <a:pt x="35" y="28"/>
                    <a:pt x="33" y="29"/>
                    <a:pt x="31" y="32"/>
                  </a:cubicBezTo>
                  <a:cubicBezTo>
                    <a:pt x="29" y="34"/>
                    <a:pt x="28" y="37"/>
                    <a:pt x="27" y="40"/>
                  </a:cubicBezTo>
                  <a:cubicBezTo>
                    <a:pt x="26" y="43"/>
                    <a:pt x="26" y="47"/>
                    <a:pt x="26" y="51"/>
                  </a:cubicBezTo>
                  <a:cubicBezTo>
                    <a:pt x="26" y="55"/>
                    <a:pt x="26" y="58"/>
                    <a:pt x="27" y="61"/>
                  </a:cubicBezTo>
                  <a:cubicBezTo>
                    <a:pt x="28" y="64"/>
                    <a:pt x="29" y="67"/>
                    <a:pt x="31" y="69"/>
                  </a:cubicBezTo>
                  <a:cubicBezTo>
                    <a:pt x="33" y="72"/>
                    <a:pt x="35" y="73"/>
                    <a:pt x="37" y="75"/>
                  </a:cubicBezTo>
                  <a:cubicBezTo>
                    <a:pt x="40" y="76"/>
                    <a:pt x="43" y="77"/>
                    <a:pt x="46" y="77"/>
                  </a:cubicBezTo>
                  <a:cubicBezTo>
                    <a:pt x="48" y="77"/>
                    <a:pt x="50" y="76"/>
                    <a:pt x="52" y="76"/>
                  </a:cubicBezTo>
                  <a:cubicBezTo>
                    <a:pt x="55" y="75"/>
                    <a:pt x="57" y="74"/>
                    <a:pt x="58" y="73"/>
                  </a:cubicBezTo>
                  <a:cubicBezTo>
                    <a:pt x="60" y="72"/>
                    <a:pt x="62" y="71"/>
                    <a:pt x="64" y="69"/>
                  </a:cubicBezTo>
                  <a:cubicBezTo>
                    <a:pt x="65" y="68"/>
                    <a:pt x="67" y="66"/>
                    <a:pt x="69" y="64"/>
                  </a:cubicBezTo>
                  <a:lnTo>
                    <a:pt x="85" y="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10" name="Freeform 26">
              <a:extLst>
                <a:ext uri="{FF2B5EF4-FFF2-40B4-BE49-F238E27FC236}">
                  <a16:creationId xmlns:a16="http://schemas.microsoft.com/office/drawing/2014/main" id="{91225174-20DB-4A4F-A5BB-9A114EDC0F3E}"/>
                </a:ext>
              </a:extLst>
            </p:cNvPr>
            <p:cNvSpPr>
              <a:spLocks/>
            </p:cNvSpPr>
            <p:nvPr/>
          </p:nvSpPr>
          <p:spPr bwMode="white">
            <a:xfrm>
              <a:off x="10297911" y="1406980"/>
              <a:ext cx="57529" cy="91524"/>
            </a:xfrm>
            <a:custGeom>
              <a:avLst/>
              <a:gdLst>
                <a:gd name="T0" fmla="*/ 59 w 84"/>
                <a:gd name="T1" fmla="*/ 135 h 135"/>
                <a:gd name="T2" fmla="*/ 59 w 84"/>
                <a:gd name="T3" fmla="*/ 83 h 135"/>
                <a:gd name="T4" fmla="*/ 55 w 84"/>
                <a:gd name="T5" fmla="*/ 66 h 135"/>
                <a:gd name="T6" fmla="*/ 42 w 84"/>
                <a:gd name="T7" fmla="*/ 60 h 135"/>
                <a:gd name="T8" fmla="*/ 35 w 84"/>
                <a:gd name="T9" fmla="*/ 61 h 135"/>
                <a:gd name="T10" fmla="*/ 30 w 84"/>
                <a:gd name="T11" fmla="*/ 65 h 135"/>
                <a:gd name="T12" fmla="*/ 27 w 84"/>
                <a:gd name="T13" fmla="*/ 71 h 135"/>
                <a:gd name="T14" fmla="*/ 25 w 84"/>
                <a:gd name="T15" fmla="*/ 82 h 135"/>
                <a:gd name="T16" fmla="*/ 25 w 84"/>
                <a:gd name="T17" fmla="*/ 135 h 135"/>
                <a:gd name="T18" fmla="*/ 0 w 84"/>
                <a:gd name="T19" fmla="*/ 135 h 135"/>
                <a:gd name="T20" fmla="*/ 0 w 84"/>
                <a:gd name="T21" fmla="*/ 13 h 135"/>
                <a:gd name="T22" fmla="*/ 25 w 84"/>
                <a:gd name="T23" fmla="*/ 0 h 135"/>
                <a:gd name="T24" fmla="*/ 25 w 84"/>
                <a:gd name="T25" fmla="*/ 44 h 135"/>
                <a:gd name="T26" fmla="*/ 29 w 84"/>
                <a:gd name="T27" fmla="*/ 41 h 135"/>
                <a:gd name="T28" fmla="*/ 35 w 84"/>
                <a:gd name="T29" fmla="*/ 38 h 135"/>
                <a:gd name="T30" fmla="*/ 41 w 84"/>
                <a:gd name="T31" fmla="*/ 37 h 135"/>
                <a:gd name="T32" fmla="*/ 48 w 84"/>
                <a:gd name="T33" fmla="*/ 36 h 135"/>
                <a:gd name="T34" fmla="*/ 64 w 84"/>
                <a:gd name="T35" fmla="*/ 39 h 135"/>
                <a:gd name="T36" fmla="*/ 75 w 84"/>
                <a:gd name="T37" fmla="*/ 48 h 135"/>
                <a:gd name="T38" fmla="*/ 82 w 84"/>
                <a:gd name="T39" fmla="*/ 62 h 135"/>
                <a:gd name="T40" fmla="*/ 84 w 84"/>
                <a:gd name="T41" fmla="*/ 80 h 135"/>
                <a:gd name="T42" fmla="*/ 84 w 84"/>
                <a:gd name="T43" fmla="*/ 135 h 135"/>
                <a:gd name="T44" fmla="*/ 59 w 84"/>
                <a:gd name="T45" fmla="*/ 135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4" h="135">
                  <a:moveTo>
                    <a:pt x="59" y="135"/>
                  </a:moveTo>
                  <a:cubicBezTo>
                    <a:pt x="59" y="83"/>
                    <a:pt x="59" y="83"/>
                    <a:pt x="59" y="83"/>
                  </a:cubicBezTo>
                  <a:cubicBezTo>
                    <a:pt x="59" y="75"/>
                    <a:pt x="57" y="69"/>
                    <a:pt x="55" y="66"/>
                  </a:cubicBezTo>
                  <a:cubicBezTo>
                    <a:pt x="52" y="62"/>
                    <a:pt x="48" y="60"/>
                    <a:pt x="42" y="60"/>
                  </a:cubicBezTo>
                  <a:cubicBezTo>
                    <a:pt x="39" y="60"/>
                    <a:pt x="37" y="60"/>
                    <a:pt x="35" y="61"/>
                  </a:cubicBezTo>
                  <a:cubicBezTo>
                    <a:pt x="33" y="62"/>
                    <a:pt x="31" y="63"/>
                    <a:pt x="30" y="65"/>
                  </a:cubicBezTo>
                  <a:cubicBezTo>
                    <a:pt x="28" y="66"/>
                    <a:pt x="27" y="69"/>
                    <a:pt x="27" y="71"/>
                  </a:cubicBezTo>
                  <a:cubicBezTo>
                    <a:pt x="26" y="74"/>
                    <a:pt x="25" y="78"/>
                    <a:pt x="25" y="82"/>
                  </a:cubicBezTo>
                  <a:cubicBezTo>
                    <a:pt x="25" y="135"/>
                    <a:pt x="25" y="135"/>
                    <a:pt x="25" y="135"/>
                  </a:cubicBezTo>
                  <a:cubicBezTo>
                    <a:pt x="0" y="135"/>
                    <a:pt x="0" y="135"/>
                    <a:pt x="0" y="135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44"/>
                    <a:pt x="25" y="44"/>
                    <a:pt x="25" y="44"/>
                  </a:cubicBezTo>
                  <a:cubicBezTo>
                    <a:pt x="27" y="43"/>
                    <a:pt x="28" y="42"/>
                    <a:pt x="29" y="41"/>
                  </a:cubicBezTo>
                  <a:cubicBezTo>
                    <a:pt x="31" y="40"/>
                    <a:pt x="33" y="39"/>
                    <a:pt x="35" y="38"/>
                  </a:cubicBezTo>
                  <a:cubicBezTo>
                    <a:pt x="37" y="38"/>
                    <a:pt x="39" y="37"/>
                    <a:pt x="41" y="37"/>
                  </a:cubicBezTo>
                  <a:cubicBezTo>
                    <a:pt x="43" y="36"/>
                    <a:pt x="46" y="36"/>
                    <a:pt x="48" y="36"/>
                  </a:cubicBezTo>
                  <a:cubicBezTo>
                    <a:pt x="54" y="36"/>
                    <a:pt x="60" y="37"/>
                    <a:pt x="64" y="39"/>
                  </a:cubicBezTo>
                  <a:cubicBezTo>
                    <a:pt x="69" y="41"/>
                    <a:pt x="73" y="44"/>
                    <a:pt x="75" y="48"/>
                  </a:cubicBezTo>
                  <a:cubicBezTo>
                    <a:pt x="78" y="52"/>
                    <a:pt x="81" y="56"/>
                    <a:pt x="82" y="62"/>
                  </a:cubicBezTo>
                  <a:cubicBezTo>
                    <a:pt x="83" y="67"/>
                    <a:pt x="84" y="74"/>
                    <a:pt x="84" y="80"/>
                  </a:cubicBezTo>
                  <a:cubicBezTo>
                    <a:pt x="84" y="135"/>
                    <a:pt x="84" y="135"/>
                    <a:pt x="84" y="135"/>
                  </a:cubicBezTo>
                  <a:lnTo>
                    <a:pt x="59" y="1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11" name="Freeform 27">
              <a:extLst>
                <a:ext uri="{FF2B5EF4-FFF2-40B4-BE49-F238E27FC236}">
                  <a16:creationId xmlns:a16="http://schemas.microsoft.com/office/drawing/2014/main" id="{43682DD6-D2ED-4863-B27B-40F3CBE0E381}"/>
                </a:ext>
              </a:extLst>
            </p:cNvPr>
            <p:cNvSpPr>
              <a:spLocks/>
            </p:cNvSpPr>
            <p:nvPr/>
          </p:nvSpPr>
          <p:spPr bwMode="white">
            <a:xfrm>
              <a:off x="10372438" y="1406980"/>
              <a:ext cx="16998" cy="91524"/>
            </a:xfrm>
            <a:custGeom>
              <a:avLst/>
              <a:gdLst>
                <a:gd name="T0" fmla="*/ 0 w 13"/>
                <a:gd name="T1" fmla="*/ 70 h 70"/>
                <a:gd name="T2" fmla="*/ 0 w 13"/>
                <a:gd name="T3" fmla="*/ 6 h 70"/>
                <a:gd name="T4" fmla="*/ 13 w 13"/>
                <a:gd name="T5" fmla="*/ 0 h 70"/>
                <a:gd name="T6" fmla="*/ 13 w 13"/>
                <a:gd name="T7" fmla="*/ 70 h 70"/>
                <a:gd name="T8" fmla="*/ 0 w 13"/>
                <a:gd name="T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70">
                  <a:moveTo>
                    <a:pt x="0" y="70"/>
                  </a:moveTo>
                  <a:lnTo>
                    <a:pt x="0" y="6"/>
                  </a:lnTo>
                  <a:lnTo>
                    <a:pt x="13" y="0"/>
                  </a:lnTo>
                  <a:lnTo>
                    <a:pt x="13" y="70"/>
                  </a:lnTo>
                  <a:lnTo>
                    <a:pt x="0" y="7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12" name="Freeform 28">
              <a:extLst>
                <a:ext uri="{FF2B5EF4-FFF2-40B4-BE49-F238E27FC236}">
                  <a16:creationId xmlns:a16="http://schemas.microsoft.com/office/drawing/2014/main" id="{3D572001-B851-4D74-9AAD-13EE61D916F6}"/>
                </a:ext>
              </a:extLst>
            </p:cNvPr>
            <p:cNvSpPr>
              <a:spLocks noEditPoints="1"/>
            </p:cNvSpPr>
            <p:nvPr/>
          </p:nvSpPr>
          <p:spPr bwMode="white">
            <a:xfrm>
              <a:off x="10403818" y="1430515"/>
              <a:ext cx="57529" cy="69297"/>
            </a:xfrm>
            <a:custGeom>
              <a:avLst/>
              <a:gdLst>
                <a:gd name="T0" fmla="*/ 58 w 83"/>
                <a:gd name="T1" fmla="*/ 99 h 101"/>
                <a:gd name="T2" fmla="*/ 58 w 83"/>
                <a:gd name="T3" fmla="*/ 93 h 101"/>
                <a:gd name="T4" fmla="*/ 54 w 83"/>
                <a:gd name="T5" fmla="*/ 96 h 101"/>
                <a:gd name="T6" fmla="*/ 49 w 83"/>
                <a:gd name="T7" fmla="*/ 99 h 101"/>
                <a:gd name="T8" fmla="*/ 42 w 83"/>
                <a:gd name="T9" fmla="*/ 101 h 101"/>
                <a:gd name="T10" fmla="*/ 36 w 83"/>
                <a:gd name="T11" fmla="*/ 101 h 101"/>
                <a:gd name="T12" fmla="*/ 23 w 83"/>
                <a:gd name="T13" fmla="*/ 99 h 101"/>
                <a:gd name="T14" fmla="*/ 11 w 83"/>
                <a:gd name="T15" fmla="*/ 93 h 101"/>
                <a:gd name="T16" fmla="*/ 3 w 83"/>
                <a:gd name="T17" fmla="*/ 82 h 101"/>
                <a:gd name="T18" fmla="*/ 0 w 83"/>
                <a:gd name="T19" fmla="*/ 67 h 101"/>
                <a:gd name="T20" fmla="*/ 3 w 83"/>
                <a:gd name="T21" fmla="*/ 53 h 101"/>
                <a:gd name="T22" fmla="*/ 11 w 83"/>
                <a:gd name="T23" fmla="*/ 42 h 101"/>
                <a:gd name="T24" fmla="*/ 24 w 83"/>
                <a:gd name="T25" fmla="*/ 36 h 101"/>
                <a:gd name="T26" fmla="*/ 39 w 83"/>
                <a:gd name="T27" fmla="*/ 34 h 101"/>
                <a:gd name="T28" fmla="*/ 50 w 83"/>
                <a:gd name="T29" fmla="*/ 36 h 101"/>
                <a:gd name="T30" fmla="*/ 58 w 83"/>
                <a:gd name="T31" fmla="*/ 38 h 101"/>
                <a:gd name="T32" fmla="*/ 58 w 83"/>
                <a:gd name="T33" fmla="*/ 33 h 101"/>
                <a:gd name="T34" fmla="*/ 54 w 83"/>
                <a:gd name="T35" fmla="*/ 25 h 101"/>
                <a:gd name="T36" fmla="*/ 44 w 83"/>
                <a:gd name="T37" fmla="*/ 21 h 101"/>
                <a:gd name="T38" fmla="*/ 30 w 83"/>
                <a:gd name="T39" fmla="*/ 22 h 101"/>
                <a:gd name="T40" fmla="*/ 17 w 83"/>
                <a:gd name="T41" fmla="*/ 27 h 101"/>
                <a:gd name="T42" fmla="*/ 7 w 83"/>
                <a:gd name="T43" fmla="*/ 10 h 101"/>
                <a:gd name="T44" fmla="*/ 25 w 83"/>
                <a:gd name="T45" fmla="*/ 2 h 101"/>
                <a:gd name="T46" fmla="*/ 44 w 83"/>
                <a:gd name="T47" fmla="*/ 0 h 101"/>
                <a:gd name="T48" fmla="*/ 60 w 83"/>
                <a:gd name="T49" fmla="*/ 2 h 101"/>
                <a:gd name="T50" fmla="*/ 72 w 83"/>
                <a:gd name="T51" fmla="*/ 9 h 101"/>
                <a:gd name="T52" fmla="*/ 80 w 83"/>
                <a:gd name="T53" fmla="*/ 19 h 101"/>
                <a:gd name="T54" fmla="*/ 83 w 83"/>
                <a:gd name="T55" fmla="*/ 34 h 101"/>
                <a:gd name="T56" fmla="*/ 83 w 83"/>
                <a:gd name="T57" fmla="*/ 99 h 101"/>
                <a:gd name="T58" fmla="*/ 58 w 83"/>
                <a:gd name="T59" fmla="*/ 99 h 101"/>
                <a:gd name="T60" fmla="*/ 58 w 83"/>
                <a:gd name="T61" fmla="*/ 58 h 101"/>
                <a:gd name="T62" fmla="*/ 54 w 83"/>
                <a:gd name="T63" fmla="*/ 57 h 101"/>
                <a:gd name="T64" fmla="*/ 51 w 83"/>
                <a:gd name="T65" fmla="*/ 55 h 101"/>
                <a:gd name="T66" fmla="*/ 46 w 83"/>
                <a:gd name="T67" fmla="*/ 55 h 101"/>
                <a:gd name="T68" fmla="*/ 40 w 83"/>
                <a:gd name="T69" fmla="*/ 54 h 101"/>
                <a:gd name="T70" fmla="*/ 29 w 83"/>
                <a:gd name="T71" fmla="*/ 58 h 101"/>
                <a:gd name="T72" fmla="*/ 25 w 83"/>
                <a:gd name="T73" fmla="*/ 67 h 101"/>
                <a:gd name="T74" fmla="*/ 26 w 83"/>
                <a:gd name="T75" fmla="*/ 71 h 101"/>
                <a:gd name="T76" fmla="*/ 28 w 83"/>
                <a:gd name="T77" fmla="*/ 76 h 101"/>
                <a:gd name="T78" fmla="*/ 33 w 83"/>
                <a:gd name="T79" fmla="*/ 78 h 101"/>
                <a:gd name="T80" fmla="*/ 40 w 83"/>
                <a:gd name="T81" fmla="*/ 80 h 101"/>
                <a:gd name="T82" fmla="*/ 46 w 83"/>
                <a:gd name="T83" fmla="*/ 79 h 101"/>
                <a:gd name="T84" fmla="*/ 51 w 83"/>
                <a:gd name="T85" fmla="*/ 77 h 101"/>
                <a:gd name="T86" fmla="*/ 55 w 83"/>
                <a:gd name="T87" fmla="*/ 74 h 101"/>
                <a:gd name="T88" fmla="*/ 58 w 83"/>
                <a:gd name="T89" fmla="*/ 71 h 101"/>
                <a:gd name="T90" fmla="*/ 58 w 83"/>
                <a:gd name="T91" fmla="*/ 5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83" h="101">
                  <a:moveTo>
                    <a:pt x="58" y="99"/>
                  </a:moveTo>
                  <a:cubicBezTo>
                    <a:pt x="58" y="93"/>
                    <a:pt x="58" y="93"/>
                    <a:pt x="58" y="93"/>
                  </a:cubicBezTo>
                  <a:cubicBezTo>
                    <a:pt x="57" y="94"/>
                    <a:pt x="55" y="95"/>
                    <a:pt x="54" y="96"/>
                  </a:cubicBezTo>
                  <a:cubicBezTo>
                    <a:pt x="52" y="97"/>
                    <a:pt x="51" y="98"/>
                    <a:pt x="49" y="99"/>
                  </a:cubicBezTo>
                  <a:cubicBezTo>
                    <a:pt x="47" y="100"/>
                    <a:pt x="44" y="100"/>
                    <a:pt x="42" y="101"/>
                  </a:cubicBezTo>
                  <a:cubicBezTo>
                    <a:pt x="40" y="101"/>
                    <a:pt x="38" y="101"/>
                    <a:pt x="36" y="101"/>
                  </a:cubicBezTo>
                  <a:cubicBezTo>
                    <a:pt x="31" y="101"/>
                    <a:pt x="27" y="100"/>
                    <a:pt x="23" y="99"/>
                  </a:cubicBezTo>
                  <a:cubicBezTo>
                    <a:pt x="18" y="98"/>
                    <a:pt x="14" y="96"/>
                    <a:pt x="11" y="93"/>
                  </a:cubicBezTo>
                  <a:cubicBezTo>
                    <a:pt x="8" y="90"/>
                    <a:pt x="5" y="86"/>
                    <a:pt x="3" y="82"/>
                  </a:cubicBezTo>
                  <a:cubicBezTo>
                    <a:pt x="1" y="78"/>
                    <a:pt x="0" y="73"/>
                    <a:pt x="0" y="67"/>
                  </a:cubicBezTo>
                  <a:cubicBezTo>
                    <a:pt x="0" y="61"/>
                    <a:pt x="1" y="57"/>
                    <a:pt x="3" y="53"/>
                  </a:cubicBezTo>
                  <a:cubicBezTo>
                    <a:pt x="5" y="48"/>
                    <a:pt x="8" y="45"/>
                    <a:pt x="11" y="42"/>
                  </a:cubicBezTo>
                  <a:cubicBezTo>
                    <a:pt x="15" y="40"/>
                    <a:pt x="19" y="38"/>
                    <a:pt x="24" y="36"/>
                  </a:cubicBezTo>
                  <a:cubicBezTo>
                    <a:pt x="28" y="35"/>
                    <a:pt x="33" y="34"/>
                    <a:pt x="39" y="34"/>
                  </a:cubicBezTo>
                  <a:cubicBezTo>
                    <a:pt x="43" y="34"/>
                    <a:pt x="47" y="35"/>
                    <a:pt x="50" y="36"/>
                  </a:cubicBezTo>
                  <a:cubicBezTo>
                    <a:pt x="53" y="36"/>
                    <a:pt x="56" y="37"/>
                    <a:pt x="58" y="38"/>
                  </a:cubicBezTo>
                  <a:cubicBezTo>
                    <a:pt x="58" y="33"/>
                    <a:pt x="58" y="33"/>
                    <a:pt x="58" y="33"/>
                  </a:cubicBezTo>
                  <a:cubicBezTo>
                    <a:pt x="58" y="30"/>
                    <a:pt x="56" y="27"/>
                    <a:pt x="54" y="25"/>
                  </a:cubicBezTo>
                  <a:cubicBezTo>
                    <a:pt x="52" y="22"/>
                    <a:pt x="48" y="21"/>
                    <a:pt x="44" y="21"/>
                  </a:cubicBezTo>
                  <a:cubicBezTo>
                    <a:pt x="38" y="21"/>
                    <a:pt x="33" y="21"/>
                    <a:pt x="30" y="22"/>
                  </a:cubicBezTo>
                  <a:cubicBezTo>
                    <a:pt x="26" y="23"/>
                    <a:pt x="22" y="25"/>
                    <a:pt x="17" y="27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14" y="6"/>
                    <a:pt x="19" y="4"/>
                    <a:pt x="25" y="2"/>
                  </a:cubicBezTo>
                  <a:cubicBezTo>
                    <a:pt x="30" y="1"/>
                    <a:pt x="37" y="0"/>
                    <a:pt x="44" y="0"/>
                  </a:cubicBezTo>
                  <a:cubicBezTo>
                    <a:pt x="50" y="0"/>
                    <a:pt x="55" y="1"/>
                    <a:pt x="60" y="2"/>
                  </a:cubicBezTo>
                  <a:cubicBezTo>
                    <a:pt x="65" y="4"/>
                    <a:pt x="69" y="6"/>
                    <a:pt x="72" y="9"/>
                  </a:cubicBezTo>
                  <a:cubicBezTo>
                    <a:pt x="76" y="12"/>
                    <a:pt x="79" y="15"/>
                    <a:pt x="80" y="19"/>
                  </a:cubicBezTo>
                  <a:cubicBezTo>
                    <a:pt x="82" y="24"/>
                    <a:pt x="83" y="29"/>
                    <a:pt x="83" y="34"/>
                  </a:cubicBezTo>
                  <a:cubicBezTo>
                    <a:pt x="83" y="99"/>
                    <a:pt x="83" y="99"/>
                    <a:pt x="83" y="99"/>
                  </a:cubicBezTo>
                  <a:lnTo>
                    <a:pt x="58" y="99"/>
                  </a:lnTo>
                  <a:close/>
                  <a:moveTo>
                    <a:pt x="58" y="58"/>
                  </a:moveTo>
                  <a:cubicBezTo>
                    <a:pt x="57" y="58"/>
                    <a:pt x="55" y="57"/>
                    <a:pt x="54" y="57"/>
                  </a:cubicBezTo>
                  <a:cubicBezTo>
                    <a:pt x="53" y="56"/>
                    <a:pt x="52" y="56"/>
                    <a:pt x="51" y="55"/>
                  </a:cubicBezTo>
                  <a:cubicBezTo>
                    <a:pt x="49" y="55"/>
                    <a:pt x="48" y="55"/>
                    <a:pt x="46" y="55"/>
                  </a:cubicBezTo>
                  <a:cubicBezTo>
                    <a:pt x="44" y="54"/>
                    <a:pt x="42" y="54"/>
                    <a:pt x="40" y="54"/>
                  </a:cubicBezTo>
                  <a:cubicBezTo>
                    <a:pt x="35" y="54"/>
                    <a:pt x="31" y="55"/>
                    <a:pt x="29" y="58"/>
                  </a:cubicBezTo>
                  <a:cubicBezTo>
                    <a:pt x="26" y="60"/>
                    <a:pt x="25" y="63"/>
                    <a:pt x="25" y="67"/>
                  </a:cubicBezTo>
                  <a:cubicBezTo>
                    <a:pt x="25" y="68"/>
                    <a:pt x="25" y="70"/>
                    <a:pt x="26" y="71"/>
                  </a:cubicBezTo>
                  <a:cubicBezTo>
                    <a:pt x="26" y="73"/>
                    <a:pt x="27" y="74"/>
                    <a:pt x="28" y="76"/>
                  </a:cubicBezTo>
                  <a:cubicBezTo>
                    <a:pt x="30" y="77"/>
                    <a:pt x="31" y="78"/>
                    <a:pt x="33" y="78"/>
                  </a:cubicBezTo>
                  <a:cubicBezTo>
                    <a:pt x="35" y="79"/>
                    <a:pt x="37" y="80"/>
                    <a:pt x="40" y="80"/>
                  </a:cubicBezTo>
                  <a:cubicBezTo>
                    <a:pt x="42" y="80"/>
                    <a:pt x="44" y="79"/>
                    <a:pt x="46" y="79"/>
                  </a:cubicBezTo>
                  <a:cubicBezTo>
                    <a:pt x="48" y="78"/>
                    <a:pt x="49" y="78"/>
                    <a:pt x="51" y="77"/>
                  </a:cubicBezTo>
                  <a:cubicBezTo>
                    <a:pt x="52" y="76"/>
                    <a:pt x="54" y="75"/>
                    <a:pt x="55" y="74"/>
                  </a:cubicBezTo>
                  <a:cubicBezTo>
                    <a:pt x="56" y="73"/>
                    <a:pt x="57" y="72"/>
                    <a:pt x="58" y="71"/>
                  </a:cubicBezTo>
                  <a:lnTo>
                    <a:pt x="58" y="5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13" name="Freeform 29">
              <a:extLst>
                <a:ext uri="{FF2B5EF4-FFF2-40B4-BE49-F238E27FC236}">
                  <a16:creationId xmlns:a16="http://schemas.microsoft.com/office/drawing/2014/main" id="{A827519A-33F0-4CCB-AE07-C95A795FF2FB}"/>
                </a:ext>
              </a:extLst>
            </p:cNvPr>
            <p:cNvSpPr>
              <a:spLocks/>
            </p:cNvSpPr>
            <p:nvPr/>
          </p:nvSpPr>
          <p:spPr bwMode="white">
            <a:xfrm>
              <a:off x="10477037" y="1430515"/>
              <a:ext cx="57529" cy="67989"/>
            </a:xfrm>
            <a:custGeom>
              <a:avLst/>
              <a:gdLst>
                <a:gd name="T0" fmla="*/ 59 w 84"/>
                <a:gd name="T1" fmla="*/ 99 h 99"/>
                <a:gd name="T2" fmla="*/ 59 w 84"/>
                <a:gd name="T3" fmla="*/ 47 h 99"/>
                <a:gd name="T4" fmla="*/ 55 w 84"/>
                <a:gd name="T5" fmla="*/ 30 h 99"/>
                <a:gd name="T6" fmla="*/ 42 w 84"/>
                <a:gd name="T7" fmla="*/ 24 h 99"/>
                <a:gd name="T8" fmla="*/ 35 w 84"/>
                <a:gd name="T9" fmla="*/ 25 h 99"/>
                <a:gd name="T10" fmla="*/ 30 w 84"/>
                <a:gd name="T11" fmla="*/ 29 h 99"/>
                <a:gd name="T12" fmla="*/ 27 w 84"/>
                <a:gd name="T13" fmla="*/ 35 h 99"/>
                <a:gd name="T14" fmla="*/ 26 w 84"/>
                <a:gd name="T15" fmla="*/ 46 h 99"/>
                <a:gd name="T16" fmla="*/ 26 w 84"/>
                <a:gd name="T17" fmla="*/ 99 h 99"/>
                <a:gd name="T18" fmla="*/ 0 w 84"/>
                <a:gd name="T19" fmla="*/ 99 h 99"/>
                <a:gd name="T20" fmla="*/ 0 w 84"/>
                <a:gd name="T21" fmla="*/ 2 h 99"/>
                <a:gd name="T22" fmla="*/ 26 w 84"/>
                <a:gd name="T23" fmla="*/ 2 h 99"/>
                <a:gd name="T24" fmla="*/ 26 w 84"/>
                <a:gd name="T25" fmla="*/ 8 h 99"/>
                <a:gd name="T26" fmla="*/ 30 w 84"/>
                <a:gd name="T27" fmla="*/ 5 h 99"/>
                <a:gd name="T28" fmla="*/ 35 w 84"/>
                <a:gd name="T29" fmla="*/ 2 h 99"/>
                <a:gd name="T30" fmla="*/ 41 w 84"/>
                <a:gd name="T31" fmla="*/ 1 h 99"/>
                <a:gd name="T32" fmla="*/ 48 w 84"/>
                <a:gd name="T33" fmla="*/ 0 h 99"/>
                <a:gd name="T34" fmla="*/ 64 w 84"/>
                <a:gd name="T35" fmla="*/ 3 h 99"/>
                <a:gd name="T36" fmla="*/ 76 w 84"/>
                <a:gd name="T37" fmla="*/ 12 h 99"/>
                <a:gd name="T38" fmla="*/ 82 w 84"/>
                <a:gd name="T39" fmla="*/ 26 h 99"/>
                <a:gd name="T40" fmla="*/ 84 w 84"/>
                <a:gd name="T41" fmla="*/ 44 h 99"/>
                <a:gd name="T42" fmla="*/ 84 w 84"/>
                <a:gd name="T43" fmla="*/ 99 h 99"/>
                <a:gd name="T44" fmla="*/ 59 w 84"/>
                <a:gd name="T45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4" h="99">
                  <a:moveTo>
                    <a:pt x="59" y="99"/>
                  </a:moveTo>
                  <a:cubicBezTo>
                    <a:pt x="59" y="47"/>
                    <a:pt x="59" y="47"/>
                    <a:pt x="59" y="47"/>
                  </a:cubicBezTo>
                  <a:cubicBezTo>
                    <a:pt x="59" y="39"/>
                    <a:pt x="58" y="33"/>
                    <a:pt x="55" y="30"/>
                  </a:cubicBezTo>
                  <a:cubicBezTo>
                    <a:pt x="53" y="26"/>
                    <a:pt x="48" y="24"/>
                    <a:pt x="42" y="24"/>
                  </a:cubicBezTo>
                  <a:cubicBezTo>
                    <a:pt x="40" y="24"/>
                    <a:pt x="37" y="24"/>
                    <a:pt x="35" y="25"/>
                  </a:cubicBezTo>
                  <a:cubicBezTo>
                    <a:pt x="33" y="26"/>
                    <a:pt x="31" y="27"/>
                    <a:pt x="30" y="29"/>
                  </a:cubicBezTo>
                  <a:cubicBezTo>
                    <a:pt x="29" y="30"/>
                    <a:pt x="28" y="33"/>
                    <a:pt x="27" y="35"/>
                  </a:cubicBezTo>
                  <a:cubicBezTo>
                    <a:pt x="26" y="38"/>
                    <a:pt x="26" y="42"/>
                    <a:pt x="26" y="46"/>
                  </a:cubicBezTo>
                  <a:cubicBezTo>
                    <a:pt x="26" y="99"/>
                    <a:pt x="26" y="99"/>
                    <a:pt x="26" y="99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7" y="7"/>
                    <a:pt x="28" y="6"/>
                    <a:pt x="30" y="5"/>
                  </a:cubicBezTo>
                  <a:cubicBezTo>
                    <a:pt x="31" y="4"/>
                    <a:pt x="33" y="3"/>
                    <a:pt x="35" y="2"/>
                  </a:cubicBezTo>
                  <a:cubicBezTo>
                    <a:pt x="37" y="2"/>
                    <a:pt x="39" y="1"/>
                    <a:pt x="41" y="1"/>
                  </a:cubicBezTo>
                  <a:cubicBezTo>
                    <a:pt x="44" y="0"/>
                    <a:pt x="46" y="0"/>
                    <a:pt x="48" y="0"/>
                  </a:cubicBezTo>
                  <a:cubicBezTo>
                    <a:pt x="55" y="0"/>
                    <a:pt x="60" y="1"/>
                    <a:pt x="64" y="3"/>
                  </a:cubicBezTo>
                  <a:cubicBezTo>
                    <a:pt x="69" y="5"/>
                    <a:pt x="73" y="8"/>
                    <a:pt x="76" y="12"/>
                  </a:cubicBezTo>
                  <a:cubicBezTo>
                    <a:pt x="79" y="16"/>
                    <a:pt x="81" y="20"/>
                    <a:pt x="82" y="26"/>
                  </a:cubicBezTo>
                  <a:cubicBezTo>
                    <a:pt x="84" y="31"/>
                    <a:pt x="84" y="38"/>
                    <a:pt x="84" y="44"/>
                  </a:cubicBezTo>
                  <a:cubicBezTo>
                    <a:pt x="84" y="99"/>
                    <a:pt x="84" y="99"/>
                    <a:pt x="84" y="99"/>
                  </a:cubicBezTo>
                  <a:lnTo>
                    <a:pt x="59" y="9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14" name="Freeform 30">
              <a:extLst>
                <a:ext uri="{FF2B5EF4-FFF2-40B4-BE49-F238E27FC236}">
                  <a16:creationId xmlns:a16="http://schemas.microsoft.com/office/drawing/2014/main" id="{4BC09A9F-8959-48BA-9B94-7840D333316F}"/>
                </a:ext>
              </a:extLst>
            </p:cNvPr>
            <p:cNvSpPr>
              <a:spLocks noEditPoints="1"/>
            </p:cNvSpPr>
            <p:nvPr/>
          </p:nvSpPr>
          <p:spPr bwMode="white">
            <a:xfrm>
              <a:off x="10547642" y="1406980"/>
              <a:ext cx="57529" cy="92832"/>
            </a:xfrm>
            <a:custGeom>
              <a:avLst/>
              <a:gdLst>
                <a:gd name="T0" fmla="*/ 58 w 84"/>
                <a:gd name="T1" fmla="*/ 135 h 137"/>
                <a:gd name="T2" fmla="*/ 58 w 84"/>
                <a:gd name="T3" fmla="*/ 129 h 137"/>
                <a:gd name="T4" fmla="*/ 55 w 84"/>
                <a:gd name="T5" fmla="*/ 132 h 137"/>
                <a:gd name="T6" fmla="*/ 50 w 84"/>
                <a:gd name="T7" fmla="*/ 135 h 137"/>
                <a:gd name="T8" fmla="*/ 45 w 84"/>
                <a:gd name="T9" fmla="*/ 137 h 137"/>
                <a:gd name="T10" fmla="*/ 38 w 84"/>
                <a:gd name="T11" fmla="*/ 137 h 137"/>
                <a:gd name="T12" fmla="*/ 23 w 84"/>
                <a:gd name="T13" fmla="*/ 134 h 137"/>
                <a:gd name="T14" fmla="*/ 11 w 84"/>
                <a:gd name="T15" fmla="*/ 125 h 137"/>
                <a:gd name="T16" fmla="*/ 3 w 84"/>
                <a:gd name="T17" fmla="*/ 109 h 137"/>
                <a:gd name="T18" fmla="*/ 0 w 84"/>
                <a:gd name="T19" fmla="*/ 85 h 137"/>
                <a:gd name="T20" fmla="*/ 3 w 84"/>
                <a:gd name="T21" fmla="*/ 65 h 137"/>
                <a:gd name="T22" fmla="*/ 10 w 84"/>
                <a:gd name="T23" fmla="*/ 50 h 137"/>
                <a:gd name="T24" fmla="*/ 22 w 84"/>
                <a:gd name="T25" fmla="*/ 40 h 137"/>
                <a:gd name="T26" fmla="*/ 38 w 84"/>
                <a:gd name="T27" fmla="*/ 36 h 137"/>
                <a:gd name="T28" fmla="*/ 44 w 84"/>
                <a:gd name="T29" fmla="*/ 36 h 137"/>
                <a:gd name="T30" fmla="*/ 50 w 84"/>
                <a:gd name="T31" fmla="*/ 38 h 137"/>
                <a:gd name="T32" fmla="*/ 55 w 84"/>
                <a:gd name="T33" fmla="*/ 41 h 137"/>
                <a:gd name="T34" fmla="*/ 58 w 84"/>
                <a:gd name="T35" fmla="*/ 44 h 137"/>
                <a:gd name="T36" fmla="*/ 58 w 84"/>
                <a:gd name="T37" fmla="*/ 13 h 137"/>
                <a:gd name="T38" fmla="*/ 84 w 84"/>
                <a:gd name="T39" fmla="*/ 0 h 137"/>
                <a:gd name="T40" fmla="*/ 84 w 84"/>
                <a:gd name="T41" fmla="*/ 135 h 137"/>
                <a:gd name="T42" fmla="*/ 58 w 84"/>
                <a:gd name="T43" fmla="*/ 135 h 137"/>
                <a:gd name="T44" fmla="*/ 58 w 84"/>
                <a:gd name="T45" fmla="*/ 68 h 137"/>
                <a:gd name="T46" fmla="*/ 55 w 84"/>
                <a:gd name="T47" fmla="*/ 65 h 137"/>
                <a:gd name="T48" fmla="*/ 52 w 84"/>
                <a:gd name="T49" fmla="*/ 62 h 137"/>
                <a:gd name="T50" fmla="*/ 47 w 84"/>
                <a:gd name="T51" fmla="*/ 61 h 137"/>
                <a:gd name="T52" fmla="*/ 41 w 84"/>
                <a:gd name="T53" fmla="*/ 60 h 137"/>
                <a:gd name="T54" fmla="*/ 30 w 84"/>
                <a:gd name="T55" fmla="*/ 66 h 137"/>
                <a:gd name="T56" fmla="*/ 26 w 84"/>
                <a:gd name="T57" fmla="*/ 85 h 137"/>
                <a:gd name="T58" fmla="*/ 27 w 84"/>
                <a:gd name="T59" fmla="*/ 98 h 137"/>
                <a:gd name="T60" fmla="*/ 31 w 84"/>
                <a:gd name="T61" fmla="*/ 106 h 137"/>
                <a:gd name="T62" fmla="*/ 36 w 84"/>
                <a:gd name="T63" fmla="*/ 111 h 137"/>
                <a:gd name="T64" fmla="*/ 43 w 84"/>
                <a:gd name="T65" fmla="*/ 113 h 137"/>
                <a:gd name="T66" fmla="*/ 48 w 84"/>
                <a:gd name="T67" fmla="*/ 112 h 137"/>
                <a:gd name="T68" fmla="*/ 52 w 84"/>
                <a:gd name="T69" fmla="*/ 111 h 137"/>
                <a:gd name="T70" fmla="*/ 56 w 84"/>
                <a:gd name="T71" fmla="*/ 108 h 137"/>
                <a:gd name="T72" fmla="*/ 58 w 84"/>
                <a:gd name="T73" fmla="*/ 105 h 137"/>
                <a:gd name="T74" fmla="*/ 58 w 84"/>
                <a:gd name="T75" fmla="*/ 68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4" h="137">
                  <a:moveTo>
                    <a:pt x="58" y="135"/>
                  </a:moveTo>
                  <a:cubicBezTo>
                    <a:pt x="58" y="129"/>
                    <a:pt x="58" y="129"/>
                    <a:pt x="58" y="129"/>
                  </a:cubicBezTo>
                  <a:cubicBezTo>
                    <a:pt x="57" y="130"/>
                    <a:pt x="56" y="131"/>
                    <a:pt x="55" y="132"/>
                  </a:cubicBezTo>
                  <a:cubicBezTo>
                    <a:pt x="53" y="133"/>
                    <a:pt x="52" y="134"/>
                    <a:pt x="50" y="135"/>
                  </a:cubicBezTo>
                  <a:cubicBezTo>
                    <a:pt x="48" y="136"/>
                    <a:pt x="47" y="136"/>
                    <a:pt x="45" y="137"/>
                  </a:cubicBezTo>
                  <a:cubicBezTo>
                    <a:pt x="43" y="137"/>
                    <a:pt x="40" y="137"/>
                    <a:pt x="38" y="137"/>
                  </a:cubicBezTo>
                  <a:cubicBezTo>
                    <a:pt x="33" y="137"/>
                    <a:pt x="28" y="136"/>
                    <a:pt x="23" y="134"/>
                  </a:cubicBezTo>
                  <a:cubicBezTo>
                    <a:pt x="19" y="132"/>
                    <a:pt x="15" y="129"/>
                    <a:pt x="11" y="125"/>
                  </a:cubicBezTo>
                  <a:cubicBezTo>
                    <a:pt x="8" y="121"/>
                    <a:pt x="5" y="115"/>
                    <a:pt x="3" y="109"/>
                  </a:cubicBezTo>
                  <a:cubicBezTo>
                    <a:pt x="1" y="102"/>
                    <a:pt x="0" y="94"/>
                    <a:pt x="0" y="85"/>
                  </a:cubicBezTo>
                  <a:cubicBezTo>
                    <a:pt x="0" y="78"/>
                    <a:pt x="1" y="71"/>
                    <a:pt x="3" y="65"/>
                  </a:cubicBezTo>
                  <a:cubicBezTo>
                    <a:pt x="4" y="59"/>
                    <a:pt x="7" y="54"/>
                    <a:pt x="10" y="50"/>
                  </a:cubicBezTo>
                  <a:cubicBezTo>
                    <a:pt x="13" y="45"/>
                    <a:pt x="17" y="42"/>
                    <a:pt x="22" y="40"/>
                  </a:cubicBezTo>
                  <a:cubicBezTo>
                    <a:pt x="27" y="37"/>
                    <a:pt x="32" y="36"/>
                    <a:pt x="38" y="36"/>
                  </a:cubicBezTo>
                  <a:cubicBezTo>
                    <a:pt x="40" y="36"/>
                    <a:pt x="42" y="36"/>
                    <a:pt x="44" y="36"/>
                  </a:cubicBezTo>
                  <a:cubicBezTo>
                    <a:pt x="46" y="37"/>
                    <a:pt x="48" y="37"/>
                    <a:pt x="50" y="38"/>
                  </a:cubicBezTo>
                  <a:cubicBezTo>
                    <a:pt x="52" y="39"/>
                    <a:pt x="53" y="40"/>
                    <a:pt x="55" y="41"/>
                  </a:cubicBezTo>
                  <a:cubicBezTo>
                    <a:pt x="56" y="42"/>
                    <a:pt x="57" y="42"/>
                    <a:pt x="58" y="44"/>
                  </a:cubicBezTo>
                  <a:cubicBezTo>
                    <a:pt x="58" y="13"/>
                    <a:pt x="58" y="13"/>
                    <a:pt x="58" y="13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135"/>
                    <a:pt x="84" y="135"/>
                    <a:pt x="84" y="135"/>
                  </a:cubicBezTo>
                  <a:lnTo>
                    <a:pt x="58" y="135"/>
                  </a:lnTo>
                  <a:close/>
                  <a:moveTo>
                    <a:pt x="58" y="68"/>
                  </a:moveTo>
                  <a:cubicBezTo>
                    <a:pt x="57" y="67"/>
                    <a:pt x="56" y="66"/>
                    <a:pt x="55" y="65"/>
                  </a:cubicBezTo>
                  <a:cubicBezTo>
                    <a:pt x="54" y="64"/>
                    <a:pt x="53" y="63"/>
                    <a:pt x="52" y="62"/>
                  </a:cubicBezTo>
                  <a:cubicBezTo>
                    <a:pt x="50" y="62"/>
                    <a:pt x="49" y="61"/>
                    <a:pt x="47" y="61"/>
                  </a:cubicBezTo>
                  <a:cubicBezTo>
                    <a:pt x="45" y="60"/>
                    <a:pt x="43" y="60"/>
                    <a:pt x="41" y="60"/>
                  </a:cubicBezTo>
                  <a:cubicBezTo>
                    <a:pt x="36" y="60"/>
                    <a:pt x="33" y="62"/>
                    <a:pt x="30" y="66"/>
                  </a:cubicBezTo>
                  <a:cubicBezTo>
                    <a:pt x="27" y="70"/>
                    <a:pt x="26" y="77"/>
                    <a:pt x="26" y="85"/>
                  </a:cubicBezTo>
                  <a:cubicBezTo>
                    <a:pt x="26" y="90"/>
                    <a:pt x="27" y="94"/>
                    <a:pt x="27" y="98"/>
                  </a:cubicBezTo>
                  <a:cubicBezTo>
                    <a:pt x="28" y="101"/>
                    <a:pt x="29" y="104"/>
                    <a:pt x="31" y="106"/>
                  </a:cubicBezTo>
                  <a:cubicBezTo>
                    <a:pt x="32" y="109"/>
                    <a:pt x="34" y="110"/>
                    <a:pt x="36" y="111"/>
                  </a:cubicBezTo>
                  <a:cubicBezTo>
                    <a:pt x="38" y="113"/>
                    <a:pt x="40" y="113"/>
                    <a:pt x="43" y="113"/>
                  </a:cubicBezTo>
                  <a:cubicBezTo>
                    <a:pt x="45" y="113"/>
                    <a:pt x="46" y="113"/>
                    <a:pt x="48" y="112"/>
                  </a:cubicBezTo>
                  <a:cubicBezTo>
                    <a:pt x="50" y="112"/>
                    <a:pt x="51" y="112"/>
                    <a:pt x="52" y="111"/>
                  </a:cubicBezTo>
                  <a:cubicBezTo>
                    <a:pt x="53" y="110"/>
                    <a:pt x="55" y="109"/>
                    <a:pt x="56" y="108"/>
                  </a:cubicBezTo>
                  <a:cubicBezTo>
                    <a:pt x="57" y="107"/>
                    <a:pt x="58" y="106"/>
                    <a:pt x="58" y="105"/>
                  </a:cubicBezTo>
                  <a:lnTo>
                    <a:pt x="58" y="6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15" name="Freeform 31">
              <a:extLst>
                <a:ext uri="{FF2B5EF4-FFF2-40B4-BE49-F238E27FC236}">
                  <a16:creationId xmlns:a16="http://schemas.microsoft.com/office/drawing/2014/main" id="{125CF3D1-4644-4A4C-A605-6CBB28099392}"/>
                </a:ext>
              </a:extLst>
            </p:cNvPr>
            <p:cNvSpPr>
              <a:spLocks/>
            </p:cNvSpPr>
            <p:nvPr/>
          </p:nvSpPr>
          <p:spPr bwMode="white">
            <a:xfrm>
              <a:off x="11214461" y="970279"/>
              <a:ext cx="83679" cy="112444"/>
            </a:xfrm>
            <a:custGeom>
              <a:avLst/>
              <a:gdLst>
                <a:gd name="T0" fmla="*/ 123 w 123"/>
                <a:gd name="T1" fmla="*/ 94 h 165"/>
                <a:gd name="T2" fmla="*/ 107 w 123"/>
                <a:gd name="T3" fmla="*/ 147 h 165"/>
                <a:gd name="T4" fmla="*/ 62 w 123"/>
                <a:gd name="T5" fmla="*/ 165 h 165"/>
                <a:gd name="T6" fmla="*/ 39 w 123"/>
                <a:gd name="T7" fmla="*/ 161 h 165"/>
                <a:gd name="T8" fmla="*/ 22 w 123"/>
                <a:gd name="T9" fmla="*/ 151 h 165"/>
                <a:gd name="T10" fmla="*/ 8 w 123"/>
                <a:gd name="T11" fmla="*/ 136 h 165"/>
                <a:gd name="T12" fmla="*/ 0 w 123"/>
                <a:gd name="T13" fmla="*/ 117 h 165"/>
                <a:gd name="T14" fmla="*/ 31 w 123"/>
                <a:gd name="T15" fmla="*/ 108 h 165"/>
                <a:gd name="T16" fmla="*/ 36 w 123"/>
                <a:gd name="T17" fmla="*/ 119 h 165"/>
                <a:gd name="T18" fmla="*/ 43 w 123"/>
                <a:gd name="T19" fmla="*/ 126 h 165"/>
                <a:gd name="T20" fmla="*/ 51 w 123"/>
                <a:gd name="T21" fmla="*/ 131 h 165"/>
                <a:gd name="T22" fmla="*/ 62 w 123"/>
                <a:gd name="T23" fmla="*/ 132 h 165"/>
                <a:gd name="T24" fmla="*/ 75 w 123"/>
                <a:gd name="T25" fmla="*/ 130 h 165"/>
                <a:gd name="T26" fmla="*/ 84 w 123"/>
                <a:gd name="T27" fmla="*/ 123 h 165"/>
                <a:gd name="T28" fmla="*/ 89 w 123"/>
                <a:gd name="T29" fmla="*/ 111 h 165"/>
                <a:gd name="T30" fmla="*/ 91 w 123"/>
                <a:gd name="T31" fmla="*/ 95 h 165"/>
                <a:gd name="T32" fmla="*/ 91 w 123"/>
                <a:gd name="T33" fmla="*/ 0 h 165"/>
                <a:gd name="T34" fmla="*/ 123 w 123"/>
                <a:gd name="T35" fmla="*/ 0 h 165"/>
                <a:gd name="T36" fmla="*/ 123 w 123"/>
                <a:gd name="T37" fmla="*/ 94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3" h="165">
                  <a:moveTo>
                    <a:pt x="123" y="94"/>
                  </a:moveTo>
                  <a:cubicBezTo>
                    <a:pt x="123" y="117"/>
                    <a:pt x="118" y="135"/>
                    <a:pt x="107" y="147"/>
                  </a:cubicBezTo>
                  <a:cubicBezTo>
                    <a:pt x="97" y="159"/>
                    <a:pt x="81" y="165"/>
                    <a:pt x="62" y="165"/>
                  </a:cubicBezTo>
                  <a:cubicBezTo>
                    <a:pt x="54" y="165"/>
                    <a:pt x="46" y="163"/>
                    <a:pt x="39" y="161"/>
                  </a:cubicBezTo>
                  <a:cubicBezTo>
                    <a:pt x="33" y="159"/>
                    <a:pt x="27" y="155"/>
                    <a:pt x="22" y="151"/>
                  </a:cubicBezTo>
                  <a:cubicBezTo>
                    <a:pt x="16" y="147"/>
                    <a:pt x="12" y="142"/>
                    <a:pt x="8" y="136"/>
                  </a:cubicBezTo>
                  <a:cubicBezTo>
                    <a:pt x="4" y="130"/>
                    <a:pt x="2" y="124"/>
                    <a:pt x="0" y="117"/>
                  </a:cubicBezTo>
                  <a:cubicBezTo>
                    <a:pt x="31" y="108"/>
                    <a:pt x="31" y="108"/>
                    <a:pt x="31" y="108"/>
                  </a:cubicBezTo>
                  <a:cubicBezTo>
                    <a:pt x="33" y="113"/>
                    <a:pt x="35" y="116"/>
                    <a:pt x="36" y="119"/>
                  </a:cubicBezTo>
                  <a:cubicBezTo>
                    <a:pt x="38" y="122"/>
                    <a:pt x="40" y="124"/>
                    <a:pt x="43" y="126"/>
                  </a:cubicBezTo>
                  <a:cubicBezTo>
                    <a:pt x="45" y="128"/>
                    <a:pt x="48" y="130"/>
                    <a:pt x="51" y="131"/>
                  </a:cubicBezTo>
                  <a:cubicBezTo>
                    <a:pt x="54" y="132"/>
                    <a:pt x="58" y="132"/>
                    <a:pt x="62" y="132"/>
                  </a:cubicBezTo>
                  <a:cubicBezTo>
                    <a:pt x="67" y="132"/>
                    <a:pt x="71" y="131"/>
                    <a:pt x="75" y="130"/>
                  </a:cubicBezTo>
                  <a:cubicBezTo>
                    <a:pt x="78" y="128"/>
                    <a:pt x="81" y="126"/>
                    <a:pt x="84" y="123"/>
                  </a:cubicBezTo>
                  <a:cubicBezTo>
                    <a:pt x="86" y="119"/>
                    <a:pt x="88" y="115"/>
                    <a:pt x="89" y="111"/>
                  </a:cubicBezTo>
                  <a:cubicBezTo>
                    <a:pt x="90" y="106"/>
                    <a:pt x="91" y="101"/>
                    <a:pt x="91" y="95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123" y="0"/>
                    <a:pt x="123" y="0"/>
                    <a:pt x="123" y="0"/>
                  </a:cubicBezTo>
                  <a:lnTo>
                    <a:pt x="123" y="9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16" name="Freeform 32">
              <a:extLst>
                <a:ext uri="{FF2B5EF4-FFF2-40B4-BE49-F238E27FC236}">
                  <a16:creationId xmlns:a16="http://schemas.microsoft.com/office/drawing/2014/main" id="{5C66EC1B-AD1B-491B-A19A-A2C96C78BC6A}"/>
                </a:ext>
              </a:extLst>
            </p:cNvPr>
            <p:cNvSpPr>
              <a:spLocks noEditPoints="1"/>
            </p:cNvSpPr>
            <p:nvPr/>
          </p:nvSpPr>
          <p:spPr bwMode="white">
            <a:xfrm>
              <a:off x="11312522" y="970279"/>
              <a:ext cx="105907" cy="111137"/>
            </a:xfrm>
            <a:custGeom>
              <a:avLst/>
              <a:gdLst>
                <a:gd name="T0" fmla="*/ 81 w 81"/>
                <a:gd name="T1" fmla="*/ 85 h 85"/>
                <a:gd name="T2" fmla="*/ 63 w 81"/>
                <a:gd name="T3" fmla="*/ 85 h 85"/>
                <a:gd name="T4" fmla="*/ 56 w 81"/>
                <a:gd name="T5" fmla="*/ 66 h 85"/>
                <a:gd name="T6" fmla="*/ 24 w 81"/>
                <a:gd name="T7" fmla="*/ 66 h 85"/>
                <a:gd name="T8" fmla="*/ 18 w 81"/>
                <a:gd name="T9" fmla="*/ 85 h 85"/>
                <a:gd name="T10" fmla="*/ 0 w 81"/>
                <a:gd name="T11" fmla="*/ 85 h 85"/>
                <a:gd name="T12" fmla="*/ 32 w 81"/>
                <a:gd name="T13" fmla="*/ 0 h 85"/>
                <a:gd name="T14" fmla="*/ 49 w 81"/>
                <a:gd name="T15" fmla="*/ 0 h 85"/>
                <a:gd name="T16" fmla="*/ 81 w 81"/>
                <a:gd name="T17" fmla="*/ 85 h 85"/>
                <a:gd name="T18" fmla="*/ 50 w 81"/>
                <a:gd name="T19" fmla="*/ 50 h 85"/>
                <a:gd name="T20" fmla="*/ 40 w 81"/>
                <a:gd name="T21" fmla="*/ 22 h 85"/>
                <a:gd name="T22" fmla="*/ 31 w 81"/>
                <a:gd name="T23" fmla="*/ 50 h 85"/>
                <a:gd name="T24" fmla="*/ 50 w 81"/>
                <a:gd name="T25" fmla="*/ 5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1" h="85">
                  <a:moveTo>
                    <a:pt x="81" y="85"/>
                  </a:moveTo>
                  <a:lnTo>
                    <a:pt x="63" y="85"/>
                  </a:lnTo>
                  <a:lnTo>
                    <a:pt x="56" y="66"/>
                  </a:lnTo>
                  <a:lnTo>
                    <a:pt x="24" y="66"/>
                  </a:lnTo>
                  <a:lnTo>
                    <a:pt x="18" y="85"/>
                  </a:lnTo>
                  <a:lnTo>
                    <a:pt x="0" y="85"/>
                  </a:lnTo>
                  <a:lnTo>
                    <a:pt x="32" y="0"/>
                  </a:lnTo>
                  <a:lnTo>
                    <a:pt x="49" y="0"/>
                  </a:lnTo>
                  <a:lnTo>
                    <a:pt x="81" y="85"/>
                  </a:lnTo>
                  <a:close/>
                  <a:moveTo>
                    <a:pt x="50" y="50"/>
                  </a:moveTo>
                  <a:lnTo>
                    <a:pt x="40" y="22"/>
                  </a:lnTo>
                  <a:lnTo>
                    <a:pt x="31" y="50"/>
                  </a:lnTo>
                  <a:lnTo>
                    <a:pt x="50" y="5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17" name="Freeform 33">
              <a:extLst>
                <a:ext uri="{FF2B5EF4-FFF2-40B4-BE49-F238E27FC236}">
                  <a16:creationId xmlns:a16="http://schemas.microsoft.com/office/drawing/2014/main" id="{DE0C7275-54C1-4C0E-A900-3BA9CF18FC7F}"/>
                </a:ext>
              </a:extLst>
            </p:cNvPr>
            <p:cNvSpPr>
              <a:spLocks/>
            </p:cNvSpPr>
            <p:nvPr/>
          </p:nvSpPr>
          <p:spPr bwMode="white">
            <a:xfrm>
              <a:off x="11439349" y="970279"/>
              <a:ext cx="88909" cy="111137"/>
            </a:xfrm>
            <a:custGeom>
              <a:avLst/>
              <a:gdLst>
                <a:gd name="T0" fmla="*/ 51 w 68"/>
                <a:gd name="T1" fmla="*/ 85 h 85"/>
                <a:gd name="T2" fmla="*/ 51 w 68"/>
                <a:gd name="T3" fmla="*/ 49 h 85"/>
                <a:gd name="T4" fmla="*/ 17 w 68"/>
                <a:gd name="T5" fmla="*/ 49 h 85"/>
                <a:gd name="T6" fmla="*/ 17 w 68"/>
                <a:gd name="T7" fmla="*/ 85 h 85"/>
                <a:gd name="T8" fmla="*/ 0 w 68"/>
                <a:gd name="T9" fmla="*/ 85 h 85"/>
                <a:gd name="T10" fmla="*/ 0 w 68"/>
                <a:gd name="T11" fmla="*/ 0 h 85"/>
                <a:gd name="T12" fmla="*/ 17 w 68"/>
                <a:gd name="T13" fmla="*/ 0 h 85"/>
                <a:gd name="T14" fmla="*/ 17 w 68"/>
                <a:gd name="T15" fmla="*/ 33 h 85"/>
                <a:gd name="T16" fmla="*/ 51 w 68"/>
                <a:gd name="T17" fmla="*/ 33 h 85"/>
                <a:gd name="T18" fmla="*/ 51 w 68"/>
                <a:gd name="T19" fmla="*/ 0 h 85"/>
                <a:gd name="T20" fmla="*/ 68 w 68"/>
                <a:gd name="T21" fmla="*/ 0 h 85"/>
                <a:gd name="T22" fmla="*/ 68 w 68"/>
                <a:gd name="T23" fmla="*/ 85 h 85"/>
                <a:gd name="T24" fmla="*/ 51 w 68"/>
                <a:gd name="T25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8" h="85">
                  <a:moveTo>
                    <a:pt x="51" y="85"/>
                  </a:moveTo>
                  <a:lnTo>
                    <a:pt x="51" y="49"/>
                  </a:lnTo>
                  <a:lnTo>
                    <a:pt x="17" y="49"/>
                  </a:lnTo>
                  <a:lnTo>
                    <a:pt x="17" y="85"/>
                  </a:lnTo>
                  <a:lnTo>
                    <a:pt x="0" y="85"/>
                  </a:lnTo>
                  <a:lnTo>
                    <a:pt x="0" y="0"/>
                  </a:lnTo>
                  <a:lnTo>
                    <a:pt x="17" y="0"/>
                  </a:lnTo>
                  <a:lnTo>
                    <a:pt x="17" y="33"/>
                  </a:lnTo>
                  <a:lnTo>
                    <a:pt x="51" y="33"/>
                  </a:lnTo>
                  <a:lnTo>
                    <a:pt x="51" y="0"/>
                  </a:lnTo>
                  <a:lnTo>
                    <a:pt x="68" y="0"/>
                  </a:lnTo>
                  <a:lnTo>
                    <a:pt x="68" y="85"/>
                  </a:lnTo>
                  <a:lnTo>
                    <a:pt x="51" y="8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18" name="Freeform 34">
              <a:extLst>
                <a:ext uri="{FF2B5EF4-FFF2-40B4-BE49-F238E27FC236}">
                  <a16:creationId xmlns:a16="http://schemas.microsoft.com/office/drawing/2014/main" id="{0A332B72-1C98-486F-B1D7-FD53CDB0B0EC}"/>
                </a:ext>
              </a:extLst>
            </p:cNvPr>
            <p:cNvSpPr>
              <a:spLocks noEditPoints="1"/>
            </p:cNvSpPr>
            <p:nvPr/>
          </p:nvSpPr>
          <p:spPr bwMode="white">
            <a:xfrm>
              <a:off x="11557023" y="970279"/>
              <a:ext cx="90217" cy="111137"/>
            </a:xfrm>
            <a:custGeom>
              <a:avLst/>
              <a:gdLst>
                <a:gd name="T0" fmla="*/ 94 w 131"/>
                <a:gd name="T1" fmla="*/ 162 h 162"/>
                <a:gd name="T2" fmla="*/ 65 w 131"/>
                <a:gd name="T3" fmla="*/ 104 h 162"/>
                <a:gd name="T4" fmla="*/ 32 w 131"/>
                <a:gd name="T5" fmla="*/ 104 h 162"/>
                <a:gd name="T6" fmla="*/ 32 w 131"/>
                <a:gd name="T7" fmla="*/ 162 h 162"/>
                <a:gd name="T8" fmla="*/ 0 w 131"/>
                <a:gd name="T9" fmla="*/ 162 h 162"/>
                <a:gd name="T10" fmla="*/ 0 w 131"/>
                <a:gd name="T11" fmla="*/ 0 h 162"/>
                <a:gd name="T12" fmla="*/ 75 w 131"/>
                <a:gd name="T13" fmla="*/ 0 h 162"/>
                <a:gd name="T14" fmla="*/ 97 w 131"/>
                <a:gd name="T15" fmla="*/ 3 h 162"/>
                <a:gd name="T16" fmla="*/ 115 w 131"/>
                <a:gd name="T17" fmla="*/ 12 h 162"/>
                <a:gd name="T18" fmla="*/ 127 w 131"/>
                <a:gd name="T19" fmla="*/ 29 h 162"/>
                <a:gd name="T20" fmla="*/ 131 w 131"/>
                <a:gd name="T21" fmla="*/ 51 h 162"/>
                <a:gd name="T22" fmla="*/ 129 w 131"/>
                <a:gd name="T23" fmla="*/ 68 h 162"/>
                <a:gd name="T24" fmla="*/ 123 w 131"/>
                <a:gd name="T25" fmla="*/ 81 h 162"/>
                <a:gd name="T26" fmla="*/ 113 w 131"/>
                <a:gd name="T27" fmla="*/ 92 h 162"/>
                <a:gd name="T28" fmla="*/ 100 w 131"/>
                <a:gd name="T29" fmla="*/ 99 h 162"/>
                <a:gd name="T30" fmla="*/ 131 w 131"/>
                <a:gd name="T31" fmla="*/ 162 h 162"/>
                <a:gd name="T32" fmla="*/ 94 w 131"/>
                <a:gd name="T33" fmla="*/ 162 h 162"/>
                <a:gd name="T34" fmla="*/ 98 w 131"/>
                <a:gd name="T35" fmla="*/ 52 h 162"/>
                <a:gd name="T36" fmla="*/ 96 w 131"/>
                <a:gd name="T37" fmla="*/ 42 h 162"/>
                <a:gd name="T38" fmla="*/ 91 w 131"/>
                <a:gd name="T39" fmla="*/ 36 h 162"/>
                <a:gd name="T40" fmla="*/ 84 w 131"/>
                <a:gd name="T41" fmla="*/ 32 h 162"/>
                <a:gd name="T42" fmla="*/ 75 w 131"/>
                <a:gd name="T43" fmla="*/ 31 h 162"/>
                <a:gd name="T44" fmla="*/ 32 w 131"/>
                <a:gd name="T45" fmla="*/ 31 h 162"/>
                <a:gd name="T46" fmla="*/ 32 w 131"/>
                <a:gd name="T47" fmla="*/ 73 h 162"/>
                <a:gd name="T48" fmla="*/ 75 w 131"/>
                <a:gd name="T49" fmla="*/ 73 h 162"/>
                <a:gd name="T50" fmla="*/ 85 w 131"/>
                <a:gd name="T51" fmla="*/ 72 h 162"/>
                <a:gd name="T52" fmla="*/ 92 w 131"/>
                <a:gd name="T53" fmla="*/ 67 h 162"/>
                <a:gd name="T54" fmla="*/ 96 w 131"/>
                <a:gd name="T55" fmla="*/ 61 h 162"/>
                <a:gd name="T56" fmla="*/ 98 w 131"/>
                <a:gd name="T57" fmla="*/ 5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31" h="162">
                  <a:moveTo>
                    <a:pt x="94" y="162"/>
                  </a:moveTo>
                  <a:cubicBezTo>
                    <a:pt x="65" y="104"/>
                    <a:pt x="65" y="104"/>
                    <a:pt x="65" y="104"/>
                  </a:cubicBezTo>
                  <a:cubicBezTo>
                    <a:pt x="32" y="104"/>
                    <a:pt x="32" y="104"/>
                    <a:pt x="32" y="104"/>
                  </a:cubicBezTo>
                  <a:cubicBezTo>
                    <a:pt x="32" y="162"/>
                    <a:pt x="32" y="162"/>
                    <a:pt x="32" y="162"/>
                  </a:cubicBezTo>
                  <a:cubicBezTo>
                    <a:pt x="0" y="162"/>
                    <a:pt x="0" y="162"/>
                    <a:pt x="0" y="16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83" y="0"/>
                    <a:pt x="90" y="1"/>
                    <a:pt x="97" y="3"/>
                  </a:cubicBezTo>
                  <a:cubicBezTo>
                    <a:pt x="104" y="5"/>
                    <a:pt x="110" y="8"/>
                    <a:pt x="115" y="12"/>
                  </a:cubicBezTo>
                  <a:cubicBezTo>
                    <a:pt x="120" y="17"/>
                    <a:pt x="124" y="22"/>
                    <a:pt x="127" y="29"/>
                  </a:cubicBezTo>
                  <a:cubicBezTo>
                    <a:pt x="130" y="35"/>
                    <a:pt x="131" y="42"/>
                    <a:pt x="131" y="51"/>
                  </a:cubicBezTo>
                  <a:cubicBezTo>
                    <a:pt x="131" y="58"/>
                    <a:pt x="130" y="63"/>
                    <a:pt x="129" y="68"/>
                  </a:cubicBezTo>
                  <a:cubicBezTo>
                    <a:pt x="128" y="73"/>
                    <a:pt x="126" y="78"/>
                    <a:pt x="123" y="81"/>
                  </a:cubicBezTo>
                  <a:cubicBezTo>
                    <a:pt x="120" y="85"/>
                    <a:pt x="117" y="89"/>
                    <a:pt x="113" y="92"/>
                  </a:cubicBezTo>
                  <a:cubicBezTo>
                    <a:pt x="110" y="94"/>
                    <a:pt x="105" y="97"/>
                    <a:pt x="100" y="99"/>
                  </a:cubicBezTo>
                  <a:cubicBezTo>
                    <a:pt x="131" y="162"/>
                    <a:pt x="131" y="162"/>
                    <a:pt x="131" y="162"/>
                  </a:cubicBezTo>
                  <a:lnTo>
                    <a:pt x="94" y="162"/>
                  </a:lnTo>
                  <a:close/>
                  <a:moveTo>
                    <a:pt x="98" y="52"/>
                  </a:moveTo>
                  <a:cubicBezTo>
                    <a:pt x="98" y="48"/>
                    <a:pt x="97" y="45"/>
                    <a:pt x="96" y="42"/>
                  </a:cubicBezTo>
                  <a:cubicBezTo>
                    <a:pt x="95" y="39"/>
                    <a:pt x="93" y="37"/>
                    <a:pt x="91" y="36"/>
                  </a:cubicBezTo>
                  <a:cubicBezTo>
                    <a:pt x="89" y="34"/>
                    <a:pt x="86" y="33"/>
                    <a:pt x="84" y="32"/>
                  </a:cubicBezTo>
                  <a:cubicBezTo>
                    <a:pt x="81" y="32"/>
                    <a:pt x="78" y="31"/>
                    <a:pt x="75" y="31"/>
                  </a:cubicBezTo>
                  <a:cubicBezTo>
                    <a:pt x="32" y="31"/>
                    <a:pt x="32" y="31"/>
                    <a:pt x="32" y="31"/>
                  </a:cubicBezTo>
                  <a:cubicBezTo>
                    <a:pt x="32" y="73"/>
                    <a:pt x="32" y="73"/>
                    <a:pt x="32" y="73"/>
                  </a:cubicBezTo>
                  <a:cubicBezTo>
                    <a:pt x="75" y="73"/>
                    <a:pt x="75" y="73"/>
                    <a:pt x="75" y="73"/>
                  </a:cubicBezTo>
                  <a:cubicBezTo>
                    <a:pt x="79" y="73"/>
                    <a:pt x="82" y="72"/>
                    <a:pt x="85" y="72"/>
                  </a:cubicBezTo>
                  <a:cubicBezTo>
                    <a:pt x="88" y="71"/>
                    <a:pt x="90" y="69"/>
                    <a:pt x="92" y="67"/>
                  </a:cubicBezTo>
                  <a:cubicBezTo>
                    <a:pt x="94" y="66"/>
                    <a:pt x="95" y="64"/>
                    <a:pt x="96" y="61"/>
                  </a:cubicBezTo>
                  <a:cubicBezTo>
                    <a:pt x="97" y="58"/>
                    <a:pt x="98" y="55"/>
                    <a:pt x="98" y="5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19" name="Freeform 35">
              <a:extLst>
                <a:ext uri="{FF2B5EF4-FFF2-40B4-BE49-F238E27FC236}">
                  <a16:creationId xmlns:a16="http://schemas.microsoft.com/office/drawing/2014/main" id="{B3BCF9E1-0026-4389-B268-FEF82FAE2561}"/>
                </a:ext>
              </a:extLst>
            </p:cNvPr>
            <p:cNvSpPr>
              <a:spLocks/>
            </p:cNvSpPr>
            <p:nvPr/>
          </p:nvSpPr>
          <p:spPr bwMode="white">
            <a:xfrm>
              <a:off x="11669468" y="970279"/>
              <a:ext cx="79757" cy="111137"/>
            </a:xfrm>
            <a:custGeom>
              <a:avLst/>
              <a:gdLst>
                <a:gd name="T0" fmla="*/ 61 w 61"/>
                <a:gd name="T1" fmla="*/ 85 h 85"/>
                <a:gd name="T2" fmla="*/ 0 w 61"/>
                <a:gd name="T3" fmla="*/ 85 h 85"/>
                <a:gd name="T4" fmla="*/ 0 w 61"/>
                <a:gd name="T5" fmla="*/ 0 h 85"/>
                <a:gd name="T6" fmla="*/ 59 w 61"/>
                <a:gd name="T7" fmla="*/ 0 h 85"/>
                <a:gd name="T8" fmla="*/ 59 w 61"/>
                <a:gd name="T9" fmla="*/ 16 h 85"/>
                <a:gd name="T10" fmla="*/ 18 w 61"/>
                <a:gd name="T11" fmla="*/ 16 h 85"/>
                <a:gd name="T12" fmla="*/ 18 w 61"/>
                <a:gd name="T13" fmla="*/ 31 h 85"/>
                <a:gd name="T14" fmla="*/ 52 w 61"/>
                <a:gd name="T15" fmla="*/ 31 h 85"/>
                <a:gd name="T16" fmla="*/ 52 w 61"/>
                <a:gd name="T17" fmla="*/ 48 h 85"/>
                <a:gd name="T18" fmla="*/ 18 w 61"/>
                <a:gd name="T19" fmla="*/ 48 h 85"/>
                <a:gd name="T20" fmla="*/ 18 w 61"/>
                <a:gd name="T21" fmla="*/ 68 h 85"/>
                <a:gd name="T22" fmla="*/ 61 w 61"/>
                <a:gd name="T23" fmla="*/ 68 h 85"/>
                <a:gd name="T24" fmla="*/ 61 w 61"/>
                <a:gd name="T25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1" h="85">
                  <a:moveTo>
                    <a:pt x="61" y="85"/>
                  </a:moveTo>
                  <a:lnTo>
                    <a:pt x="0" y="85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6"/>
                  </a:lnTo>
                  <a:lnTo>
                    <a:pt x="18" y="16"/>
                  </a:lnTo>
                  <a:lnTo>
                    <a:pt x="18" y="31"/>
                  </a:lnTo>
                  <a:lnTo>
                    <a:pt x="52" y="31"/>
                  </a:lnTo>
                  <a:lnTo>
                    <a:pt x="52" y="48"/>
                  </a:lnTo>
                  <a:lnTo>
                    <a:pt x="18" y="48"/>
                  </a:lnTo>
                  <a:lnTo>
                    <a:pt x="18" y="68"/>
                  </a:lnTo>
                  <a:lnTo>
                    <a:pt x="61" y="68"/>
                  </a:lnTo>
                  <a:lnTo>
                    <a:pt x="61" y="8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20" name="Freeform 36">
              <a:extLst>
                <a:ext uri="{FF2B5EF4-FFF2-40B4-BE49-F238E27FC236}">
                  <a16:creationId xmlns:a16="http://schemas.microsoft.com/office/drawing/2014/main" id="{649F954E-57A5-4CCA-9CAB-F232FEBD5F36}"/>
                </a:ext>
              </a:extLst>
            </p:cNvPr>
            <p:cNvSpPr>
              <a:spLocks/>
            </p:cNvSpPr>
            <p:nvPr/>
          </p:nvSpPr>
          <p:spPr bwMode="white">
            <a:xfrm>
              <a:off x="9731769" y="1013426"/>
              <a:ext cx="261498" cy="366097"/>
            </a:xfrm>
            <a:custGeom>
              <a:avLst/>
              <a:gdLst>
                <a:gd name="T0" fmla="*/ 200 w 200"/>
                <a:gd name="T1" fmla="*/ 280 h 280"/>
                <a:gd name="T2" fmla="*/ 0 w 200"/>
                <a:gd name="T3" fmla="*/ 280 h 280"/>
                <a:gd name="T4" fmla="*/ 0 w 200"/>
                <a:gd name="T5" fmla="*/ 0 h 280"/>
                <a:gd name="T6" fmla="*/ 181 w 200"/>
                <a:gd name="T7" fmla="*/ 0 h 280"/>
                <a:gd name="T8" fmla="*/ 181 w 200"/>
                <a:gd name="T9" fmla="*/ 55 h 280"/>
                <a:gd name="T10" fmla="*/ 55 w 200"/>
                <a:gd name="T11" fmla="*/ 55 h 280"/>
                <a:gd name="T12" fmla="*/ 55 w 200"/>
                <a:gd name="T13" fmla="*/ 103 h 280"/>
                <a:gd name="T14" fmla="*/ 168 w 200"/>
                <a:gd name="T15" fmla="*/ 103 h 280"/>
                <a:gd name="T16" fmla="*/ 168 w 200"/>
                <a:gd name="T17" fmla="*/ 157 h 280"/>
                <a:gd name="T18" fmla="*/ 55 w 200"/>
                <a:gd name="T19" fmla="*/ 157 h 280"/>
                <a:gd name="T20" fmla="*/ 55 w 200"/>
                <a:gd name="T21" fmla="*/ 225 h 280"/>
                <a:gd name="T22" fmla="*/ 200 w 200"/>
                <a:gd name="T23" fmla="*/ 225 h 280"/>
                <a:gd name="T24" fmla="*/ 200 w 200"/>
                <a:gd name="T25" fmla="*/ 280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0" h="280">
                  <a:moveTo>
                    <a:pt x="200" y="280"/>
                  </a:moveTo>
                  <a:lnTo>
                    <a:pt x="0" y="280"/>
                  </a:lnTo>
                  <a:lnTo>
                    <a:pt x="0" y="0"/>
                  </a:lnTo>
                  <a:lnTo>
                    <a:pt x="181" y="0"/>
                  </a:lnTo>
                  <a:lnTo>
                    <a:pt x="181" y="55"/>
                  </a:lnTo>
                  <a:lnTo>
                    <a:pt x="55" y="55"/>
                  </a:lnTo>
                  <a:lnTo>
                    <a:pt x="55" y="103"/>
                  </a:lnTo>
                  <a:lnTo>
                    <a:pt x="168" y="103"/>
                  </a:lnTo>
                  <a:lnTo>
                    <a:pt x="168" y="157"/>
                  </a:lnTo>
                  <a:lnTo>
                    <a:pt x="55" y="157"/>
                  </a:lnTo>
                  <a:lnTo>
                    <a:pt x="55" y="225"/>
                  </a:lnTo>
                  <a:lnTo>
                    <a:pt x="200" y="225"/>
                  </a:lnTo>
                  <a:lnTo>
                    <a:pt x="200" y="28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21" name="Freeform 37">
              <a:extLst>
                <a:ext uri="{FF2B5EF4-FFF2-40B4-BE49-F238E27FC236}">
                  <a16:creationId xmlns:a16="http://schemas.microsoft.com/office/drawing/2014/main" id="{6DE56CC7-4BD4-440A-97FD-A8FAEC415494}"/>
                </a:ext>
              </a:extLst>
            </p:cNvPr>
            <p:cNvSpPr>
              <a:spLocks/>
            </p:cNvSpPr>
            <p:nvPr/>
          </p:nvSpPr>
          <p:spPr bwMode="white">
            <a:xfrm>
              <a:off x="9981497" y="1013426"/>
              <a:ext cx="334717" cy="366097"/>
            </a:xfrm>
            <a:custGeom>
              <a:avLst/>
              <a:gdLst>
                <a:gd name="T0" fmla="*/ 256 w 256"/>
                <a:gd name="T1" fmla="*/ 0 h 280"/>
                <a:gd name="T2" fmla="*/ 156 w 256"/>
                <a:gd name="T3" fmla="*/ 157 h 280"/>
                <a:gd name="T4" fmla="*/ 156 w 256"/>
                <a:gd name="T5" fmla="*/ 280 h 280"/>
                <a:gd name="T6" fmla="*/ 100 w 256"/>
                <a:gd name="T7" fmla="*/ 280 h 280"/>
                <a:gd name="T8" fmla="*/ 100 w 256"/>
                <a:gd name="T9" fmla="*/ 159 h 280"/>
                <a:gd name="T10" fmla="*/ 0 w 256"/>
                <a:gd name="T11" fmla="*/ 0 h 280"/>
                <a:gd name="T12" fmla="*/ 64 w 256"/>
                <a:gd name="T13" fmla="*/ 0 h 280"/>
                <a:gd name="T14" fmla="*/ 128 w 256"/>
                <a:gd name="T15" fmla="*/ 106 h 280"/>
                <a:gd name="T16" fmla="*/ 192 w 256"/>
                <a:gd name="T17" fmla="*/ 0 h 280"/>
                <a:gd name="T18" fmla="*/ 256 w 256"/>
                <a:gd name="T19" fmla="*/ 0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6" h="280">
                  <a:moveTo>
                    <a:pt x="256" y="0"/>
                  </a:moveTo>
                  <a:lnTo>
                    <a:pt x="156" y="157"/>
                  </a:lnTo>
                  <a:lnTo>
                    <a:pt x="156" y="280"/>
                  </a:lnTo>
                  <a:lnTo>
                    <a:pt x="100" y="280"/>
                  </a:lnTo>
                  <a:lnTo>
                    <a:pt x="100" y="159"/>
                  </a:lnTo>
                  <a:lnTo>
                    <a:pt x="0" y="0"/>
                  </a:lnTo>
                  <a:lnTo>
                    <a:pt x="64" y="0"/>
                  </a:lnTo>
                  <a:lnTo>
                    <a:pt x="128" y="106"/>
                  </a:lnTo>
                  <a:lnTo>
                    <a:pt x="192" y="0"/>
                  </a:lnTo>
                  <a:lnTo>
                    <a:pt x="256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22" name="Freeform 38">
              <a:extLst>
                <a:ext uri="{FF2B5EF4-FFF2-40B4-BE49-F238E27FC236}">
                  <a16:creationId xmlns:a16="http://schemas.microsoft.com/office/drawing/2014/main" id="{658A3BBD-2F70-448C-911B-74A58B3D4525}"/>
                </a:ext>
              </a:extLst>
            </p:cNvPr>
            <p:cNvSpPr>
              <a:spLocks noEditPoints="1"/>
            </p:cNvSpPr>
            <p:nvPr/>
          </p:nvSpPr>
          <p:spPr bwMode="white">
            <a:xfrm>
              <a:off x="10199846" y="638177"/>
              <a:ext cx="1435622" cy="1039454"/>
            </a:xfrm>
            <a:custGeom>
              <a:avLst/>
              <a:gdLst>
                <a:gd name="T0" fmla="*/ 0 w 2104"/>
                <a:gd name="T1" fmla="*/ 293 h 1521"/>
                <a:gd name="T2" fmla="*/ 243 w 2104"/>
                <a:gd name="T3" fmla="*/ 139 h 1521"/>
                <a:gd name="T4" fmla="*/ 243 w 2104"/>
                <a:gd name="T5" fmla="*/ 191 h 1521"/>
                <a:gd name="T6" fmla="*/ 176 w 2104"/>
                <a:gd name="T7" fmla="*/ 1056 h 1521"/>
                <a:gd name="T8" fmla="*/ 279 w 2104"/>
                <a:gd name="T9" fmla="*/ 25 h 1521"/>
                <a:gd name="T10" fmla="*/ 1557 w 2104"/>
                <a:gd name="T11" fmla="*/ 1144 h 1521"/>
                <a:gd name="T12" fmla="*/ 1557 w 2104"/>
                <a:gd name="T13" fmla="*/ 1108 h 1521"/>
                <a:gd name="T14" fmla="*/ 1557 w 2104"/>
                <a:gd name="T15" fmla="*/ 1072 h 1521"/>
                <a:gd name="T16" fmla="*/ 1557 w 2104"/>
                <a:gd name="T17" fmla="*/ 1035 h 1521"/>
                <a:gd name="T18" fmla="*/ 1557 w 2104"/>
                <a:gd name="T19" fmla="*/ 1000 h 1521"/>
                <a:gd name="T20" fmla="*/ 1186 w 2104"/>
                <a:gd name="T21" fmla="*/ 465 h 1521"/>
                <a:gd name="T22" fmla="*/ 1915 w 2104"/>
                <a:gd name="T23" fmla="*/ 372 h 1521"/>
                <a:gd name="T24" fmla="*/ 1099 w 2104"/>
                <a:gd name="T25" fmla="*/ 499 h 1521"/>
                <a:gd name="T26" fmla="*/ 1977 w 2104"/>
                <a:gd name="T27" fmla="*/ 426 h 1521"/>
                <a:gd name="T28" fmla="*/ 1089 w 2104"/>
                <a:gd name="T29" fmla="*/ 421 h 1521"/>
                <a:gd name="T30" fmla="*/ 1565 w 2104"/>
                <a:gd name="T31" fmla="*/ 60 h 1521"/>
                <a:gd name="T32" fmla="*/ 1565 w 2104"/>
                <a:gd name="T33" fmla="*/ 24 h 1521"/>
                <a:gd name="T34" fmla="*/ 556 w 2104"/>
                <a:gd name="T35" fmla="*/ 485 h 1521"/>
                <a:gd name="T36" fmla="*/ 468 w 2104"/>
                <a:gd name="T37" fmla="*/ 41 h 1521"/>
                <a:gd name="T38" fmla="*/ 388 w 2104"/>
                <a:gd name="T39" fmla="*/ 106 h 1521"/>
                <a:gd name="T40" fmla="*/ 351 w 2104"/>
                <a:gd name="T41" fmla="*/ 760 h 1521"/>
                <a:gd name="T42" fmla="*/ 316 w 2104"/>
                <a:gd name="T43" fmla="*/ 70 h 1521"/>
                <a:gd name="T44" fmla="*/ 434 w 2104"/>
                <a:gd name="T45" fmla="*/ 1086 h 1521"/>
                <a:gd name="T46" fmla="*/ 885 w 2104"/>
                <a:gd name="T47" fmla="*/ 487 h 1521"/>
                <a:gd name="T48" fmla="*/ 885 w 2104"/>
                <a:gd name="T49" fmla="*/ 523 h 1521"/>
                <a:gd name="T50" fmla="*/ 568 w 2104"/>
                <a:gd name="T51" fmla="*/ 1056 h 1521"/>
                <a:gd name="T52" fmla="*/ 885 w 2104"/>
                <a:gd name="T53" fmla="*/ 559 h 1521"/>
                <a:gd name="T54" fmla="*/ 1089 w 2104"/>
                <a:gd name="T55" fmla="*/ 534 h 1521"/>
                <a:gd name="T56" fmla="*/ 1299 w 2104"/>
                <a:gd name="T57" fmla="*/ 996 h 1521"/>
                <a:gd name="T58" fmla="*/ 672 w 2104"/>
                <a:gd name="T59" fmla="*/ 1250 h 1521"/>
                <a:gd name="T60" fmla="*/ 894 w 2104"/>
                <a:gd name="T61" fmla="*/ 1377 h 1521"/>
                <a:gd name="T62" fmla="*/ 895 w 2104"/>
                <a:gd name="T63" fmla="*/ 1413 h 1521"/>
                <a:gd name="T64" fmla="*/ 619 w 2104"/>
                <a:gd name="T65" fmla="*/ 1361 h 1521"/>
                <a:gd name="T66" fmla="*/ 1382 w 2104"/>
                <a:gd name="T67" fmla="*/ 1152 h 1521"/>
                <a:gd name="T68" fmla="*/ 509 w 2104"/>
                <a:gd name="T69" fmla="*/ 1325 h 1521"/>
                <a:gd name="T70" fmla="*/ 1416 w 2104"/>
                <a:gd name="T71" fmla="*/ 1162 h 1521"/>
                <a:gd name="T72" fmla="*/ 2062 w 2104"/>
                <a:gd name="T73" fmla="*/ 711 h 1521"/>
                <a:gd name="T74" fmla="*/ 386 w 2104"/>
                <a:gd name="T75" fmla="*/ 950 h 1521"/>
                <a:gd name="T76" fmla="*/ 351 w 2104"/>
                <a:gd name="T77" fmla="*/ 968 h 1521"/>
                <a:gd name="T78" fmla="*/ 885 w 2104"/>
                <a:gd name="T79" fmla="*/ 415 h 1521"/>
                <a:gd name="T80" fmla="*/ 1162 w 2104"/>
                <a:gd name="T81" fmla="*/ 535 h 1521"/>
                <a:gd name="T82" fmla="*/ 1420 w 2104"/>
                <a:gd name="T83" fmla="*/ 978 h 1521"/>
                <a:gd name="T84" fmla="*/ 1162 w 2104"/>
                <a:gd name="T85" fmla="*/ 535 h 1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104" h="1521">
                  <a:moveTo>
                    <a:pt x="268" y="12"/>
                  </a:moveTo>
                  <a:cubicBezTo>
                    <a:pt x="259" y="12"/>
                    <a:pt x="252" y="20"/>
                    <a:pt x="246" y="26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4" y="303"/>
                    <a:pt x="25" y="320"/>
                    <a:pt x="51" y="291"/>
                  </a:cubicBezTo>
                  <a:cubicBezTo>
                    <a:pt x="66" y="276"/>
                    <a:pt x="243" y="80"/>
                    <a:pt x="243" y="80"/>
                  </a:cubicBezTo>
                  <a:cubicBezTo>
                    <a:pt x="243" y="139"/>
                    <a:pt x="243" y="139"/>
                    <a:pt x="243" y="139"/>
                  </a:cubicBezTo>
                  <a:cubicBezTo>
                    <a:pt x="227" y="157"/>
                    <a:pt x="76" y="322"/>
                    <a:pt x="60" y="338"/>
                  </a:cubicBezTo>
                  <a:cubicBezTo>
                    <a:pt x="38" y="360"/>
                    <a:pt x="46" y="383"/>
                    <a:pt x="59" y="392"/>
                  </a:cubicBezTo>
                  <a:cubicBezTo>
                    <a:pt x="243" y="191"/>
                    <a:pt x="243" y="191"/>
                    <a:pt x="243" y="191"/>
                  </a:cubicBezTo>
                  <a:cubicBezTo>
                    <a:pt x="243" y="983"/>
                    <a:pt x="243" y="983"/>
                    <a:pt x="243" y="983"/>
                  </a:cubicBezTo>
                  <a:cubicBezTo>
                    <a:pt x="243" y="1029"/>
                    <a:pt x="228" y="1059"/>
                    <a:pt x="200" y="1059"/>
                  </a:cubicBezTo>
                  <a:cubicBezTo>
                    <a:pt x="187" y="1059"/>
                    <a:pt x="181" y="1057"/>
                    <a:pt x="176" y="1056"/>
                  </a:cubicBezTo>
                  <a:cubicBezTo>
                    <a:pt x="170" y="1070"/>
                    <a:pt x="180" y="1090"/>
                    <a:pt x="208" y="1090"/>
                  </a:cubicBezTo>
                  <a:cubicBezTo>
                    <a:pt x="268" y="1090"/>
                    <a:pt x="279" y="1027"/>
                    <a:pt x="279" y="983"/>
                  </a:cubicBezTo>
                  <a:cubicBezTo>
                    <a:pt x="279" y="25"/>
                    <a:pt x="279" y="25"/>
                    <a:pt x="279" y="25"/>
                  </a:cubicBezTo>
                  <a:cubicBezTo>
                    <a:pt x="279" y="18"/>
                    <a:pt x="275" y="12"/>
                    <a:pt x="268" y="12"/>
                  </a:cubicBezTo>
                  <a:close/>
                  <a:moveTo>
                    <a:pt x="2062" y="711"/>
                  </a:moveTo>
                  <a:cubicBezTo>
                    <a:pt x="2072" y="820"/>
                    <a:pt x="1941" y="1144"/>
                    <a:pt x="1557" y="1144"/>
                  </a:cubicBezTo>
                  <a:cubicBezTo>
                    <a:pt x="1472" y="1144"/>
                    <a:pt x="1403" y="1124"/>
                    <a:pt x="1361" y="1105"/>
                  </a:cubicBezTo>
                  <a:cubicBezTo>
                    <a:pt x="1364" y="1094"/>
                    <a:pt x="1367" y="1083"/>
                    <a:pt x="1370" y="1072"/>
                  </a:cubicBezTo>
                  <a:cubicBezTo>
                    <a:pt x="1423" y="1094"/>
                    <a:pt x="1482" y="1108"/>
                    <a:pt x="1557" y="1108"/>
                  </a:cubicBezTo>
                  <a:cubicBezTo>
                    <a:pt x="1871" y="1108"/>
                    <a:pt x="1988" y="879"/>
                    <a:pt x="2010" y="795"/>
                  </a:cubicBezTo>
                  <a:cubicBezTo>
                    <a:pt x="2025" y="742"/>
                    <a:pt x="2018" y="711"/>
                    <a:pt x="1981" y="711"/>
                  </a:cubicBezTo>
                  <a:cubicBezTo>
                    <a:pt x="1994" y="785"/>
                    <a:pt x="1899" y="1072"/>
                    <a:pt x="1557" y="1072"/>
                  </a:cubicBezTo>
                  <a:cubicBezTo>
                    <a:pt x="1490" y="1072"/>
                    <a:pt x="1431" y="1059"/>
                    <a:pt x="1377" y="1037"/>
                  </a:cubicBezTo>
                  <a:cubicBezTo>
                    <a:pt x="1379" y="1026"/>
                    <a:pt x="1380" y="1014"/>
                    <a:pt x="1382" y="1003"/>
                  </a:cubicBezTo>
                  <a:cubicBezTo>
                    <a:pt x="1420" y="1018"/>
                    <a:pt x="1479" y="1035"/>
                    <a:pt x="1557" y="1035"/>
                  </a:cubicBezTo>
                  <a:cubicBezTo>
                    <a:pt x="1794" y="1035"/>
                    <a:pt x="1908" y="877"/>
                    <a:pt x="1932" y="781"/>
                  </a:cubicBezTo>
                  <a:cubicBezTo>
                    <a:pt x="1943" y="739"/>
                    <a:pt x="1936" y="711"/>
                    <a:pt x="1902" y="711"/>
                  </a:cubicBezTo>
                  <a:cubicBezTo>
                    <a:pt x="1910" y="784"/>
                    <a:pt x="1826" y="1000"/>
                    <a:pt x="1557" y="1000"/>
                  </a:cubicBezTo>
                  <a:cubicBezTo>
                    <a:pt x="1519" y="1000"/>
                    <a:pt x="1484" y="995"/>
                    <a:pt x="1455" y="988"/>
                  </a:cubicBezTo>
                  <a:cubicBezTo>
                    <a:pt x="1456" y="975"/>
                    <a:pt x="1456" y="960"/>
                    <a:pt x="1456" y="950"/>
                  </a:cubicBezTo>
                  <a:cubicBezTo>
                    <a:pt x="1456" y="749"/>
                    <a:pt x="1351" y="567"/>
                    <a:pt x="1186" y="465"/>
                  </a:cubicBezTo>
                  <a:cubicBezTo>
                    <a:pt x="1249" y="318"/>
                    <a:pt x="1390" y="204"/>
                    <a:pt x="1565" y="204"/>
                  </a:cubicBezTo>
                  <a:cubicBezTo>
                    <a:pt x="1787" y="204"/>
                    <a:pt x="1886" y="374"/>
                    <a:pt x="1896" y="426"/>
                  </a:cubicBezTo>
                  <a:cubicBezTo>
                    <a:pt x="1919" y="426"/>
                    <a:pt x="1925" y="395"/>
                    <a:pt x="1915" y="372"/>
                  </a:cubicBezTo>
                  <a:cubicBezTo>
                    <a:pt x="1892" y="314"/>
                    <a:pt x="1782" y="169"/>
                    <a:pt x="1565" y="169"/>
                  </a:cubicBezTo>
                  <a:cubicBezTo>
                    <a:pt x="1348" y="169"/>
                    <a:pt x="1187" y="321"/>
                    <a:pt x="1131" y="516"/>
                  </a:cubicBezTo>
                  <a:cubicBezTo>
                    <a:pt x="1121" y="510"/>
                    <a:pt x="1110" y="504"/>
                    <a:pt x="1099" y="499"/>
                  </a:cubicBezTo>
                  <a:cubicBezTo>
                    <a:pt x="1107" y="476"/>
                    <a:pt x="1114" y="453"/>
                    <a:pt x="1122" y="434"/>
                  </a:cubicBezTo>
                  <a:cubicBezTo>
                    <a:pt x="1192" y="257"/>
                    <a:pt x="1361" y="132"/>
                    <a:pt x="1565" y="132"/>
                  </a:cubicBezTo>
                  <a:cubicBezTo>
                    <a:pt x="1836" y="132"/>
                    <a:pt x="1966" y="343"/>
                    <a:pt x="1977" y="426"/>
                  </a:cubicBezTo>
                  <a:cubicBezTo>
                    <a:pt x="1997" y="426"/>
                    <a:pt x="2012" y="403"/>
                    <a:pt x="2003" y="378"/>
                  </a:cubicBezTo>
                  <a:cubicBezTo>
                    <a:pt x="1975" y="301"/>
                    <a:pt x="1856" y="96"/>
                    <a:pt x="1565" y="96"/>
                  </a:cubicBezTo>
                  <a:cubicBezTo>
                    <a:pt x="1346" y="96"/>
                    <a:pt x="1164" y="231"/>
                    <a:pt x="1089" y="421"/>
                  </a:cubicBezTo>
                  <a:cubicBezTo>
                    <a:pt x="1082" y="437"/>
                    <a:pt x="1074" y="460"/>
                    <a:pt x="1066" y="485"/>
                  </a:cubicBezTo>
                  <a:cubicBezTo>
                    <a:pt x="1056" y="481"/>
                    <a:pt x="1046" y="477"/>
                    <a:pt x="1036" y="474"/>
                  </a:cubicBezTo>
                  <a:cubicBezTo>
                    <a:pt x="1086" y="263"/>
                    <a:pt x="1283" y="60"/>
                    <a:pt x="1565" y="60"/>
                  </a:cubicBezTo>
                  <a:cubicBezTo>
                    <a:pt x="1936" y="60"/>
                    <a:pt x="2057" y="372"/>
                    <a:pt x="2058" y="426"/>
                  </a:cubicBezTo>
                  <a:cubicBezTo>
                    <a:pt x="2084" y="426"/>
                    <a:pt x="2093" y="398"/>
                    <a:pt x="2085" y="372"/>
                  </a:cubicBezTo>
                  <a:cubicBezTo>
                    <a:pt x="2058" y="289"/>
                    <a:pt x="1922" y="24"/>
                    <a:pt x="1565" y="24"/>
                  </a:cubicBezTo>
                  <a:cubicBezTo>
                    <a:pt x="1298" y="24"/>
                    <a:pt x="1105" y="187"/>
                    <a:pt x="1024" y="396"/>
                  </a:cubicBezTo>
                  <a:cubicBezTo>
                    <a:pt x="979" y="385"/>
                    <a:pt x="932" y="379"/>
                    <a:pt x="885" y="379"/>
                  </a:cubicBezTo>
                  <a:cubicBezTo>
                    <a:pt x="766" y="379"/>
                    <a:pt x="653" y="416"/>
                    <a:pt x="556" y="485"/>
                  </a:cubicBezTo>
                  <a:cubicBezTo>
                    <a:pt x="505" y="522"/>
                    <a:pt x="460" y="566"/>
                    <a:pt x="424" y="616"/>
                  </a:cubicBezTo>
                  <a:cubicBezTo>
                    <a:pt x="424" y="106"/>
                    <a:pt x="424" y="106"/>
                    <a:pt x="424" y="106"/>
                  </a:cubicBezTo>
                  <a:cubicBezTo>
                    <a:pt x="424" y="60"/>
                    <a:pt x="439" y="41"/>
                    <a:pt x="468" y="41"/>
                  </a:cubicBezTo>
                  <a:cubicBezTo>
                    <a:pt x="480" y="41"/>
                    <a:pt x="486" y="43"/>
                    <a:pt x="491" y="44"/>
                  </a:cubicBezTo>
                  <a:cubicBezTo>
                    <a:pt x="497" y="30"/>
                    <a:pt x="487" y="10"/>
                    <a:pt x="459" y="10"/>
                  </a:cubicBezTo>
                  <a:cubicBezTo>
                    <a:pt x="399" y="10"/>
                    <a:pt x="388" y="62"/>
                    <a:pt x="388" y="106"/>
                  </a:cubicBezTo>
                  <a:cubicBezTo>
                    <a:pt x="388" y="106"/>
                    <a:pt x="388" y="518"/>
                    <a:pt x="388" y="672"/>
                  </a:cubicBezTo>
                  <a:cubicBezTo>
                    <a:pt x="388" y="673"/>
                    <a:pt x="387" y="674"/>
                    <a:pt x="387" y="675"/>
                  </a:cubicBezTo>
                  <a:cubicBezTo>
                    <a:pt x="377" y="692"/>
                    <a:pt x="362" y="729"/>
                    <a:pt x="351" y="760"/>
                  </a:cubicBezTo>
                  <a:cubicBezTo>
                    <a:pt x="351" y="84"/>
                    <a:pt x="351" y="84"/>
                    <a:pt x="351" y="84"/>
                  </a:cubicBezTo>
                  <a:cubicBezTo>
                    <a:pt x="351" y="41"/>
                    <a:pt x="361" y="26"/>
                    <a:pt x="369" y="19"/>
                  </a:cubicBezTo>
                  <a:cubicBezTo>
                    <a:pt x="365" y="5"/>
                    <a:pt x="316" y="0"/>
                    <a:pt x="316" y="70"/>
                  </a:cubicBezTo>
                  <a:cubicBezTo>
                    <a:pt x="316" y="103"/>
                    <a:pt x="316" y="984"/>
                    <a:pt x="316" y="984"/>
                  </a:cubicBezTo>
                  <a:cubicBezTo>
                    <a:pt x="316" y="1060"/>
                    <a:pt x="351" y="1091"/>
                    <a:pt x="389" y="1091"/>
                  </a:cubicBezTo>
                  <a:cubicBezTo>
                    <a:pt x="405" y="1091"/>
                    <a:pt x="422" y="1088"/>
                    <a:pt x="434" y="1086"/>
                  </a:cubicBezTo>
                  <a:cubicBezTo>
                    <a:pt x="440" y="1084"/>
                    <a:pt x="444" y="1077"/>
                    <a:pt x="442" y="1071"/>
                  </a:cubicBezTo>
                  <a:cubicBezTo>
                    <a:pt x="430" y="1040"/>
                    <a:pt x="422" y="998"/>
                    <a:pt x="422" y="950"/>
                  </a:cubicBezTo>
                  <a:cubicBezTo>
                    <a:pt x="422" y="694"/>
                    <a:pt x="630" y="487"/>
                    <a:pt x="885" y="487"/>
                  </a:cubicBezTo>
                  <a:cubicBezTo>
                    <a:pt x="946" y="487"/>
                    <a:pt x="1003" y="498"/>
                    <a:pt x="1057" y="519"/>
                  </a:cubicBezTo>
                  <a:cubicBezTo>
                    <a:pt x="1053" y="530"/>
                    <a:pt x="1051" y="542"/>
                    <a:pt x="1048" y="553"/>
                  </a:cubicBezTo>
                  <a:cubicBezTo>
                    <a:pt x="1008" y="537"/>
                    <a:pt x="955" y="523"/>
                    <a:pt x="885" y="523"/>
                  </a:cubicBezTo>
                  <a:cubicBezTo>
                    <a:pt x="650" y="523"/>
                    <a:pt x="458" y="715"/>
                    <a:pt x="458" y="950"/>
                  </a:cubicBezTo>
                  <a:cubicBezTo>
                    <a:pt x="458" y="1011"/>
                    <a:pt x="475" y="1090"/>
                    <a:pt x="535" y="1090"/>
                  </a:cubicBezTo>
                  <a:cubicBezTo>
                    <a:pt x="564" y="1090"/>
                    <a:pt x="574" y="1070"/>
                    <a:pt x="568" y="1056"/>
                  </a:cubicBezTo>
                  <a:cubicBezTo>
                    <a:pt x="562" y="1057"/>
                    <a:pt x="556" y="1059"/>
                    <a:pt x="544" y="1059"/>
                  </a:cubicBezTo>
                  <a:cubicBezTo>
                    <a:pt x="516" y="1059"/>
                    <a:pt x="494" y="1021"/>
                    <a:pt x="494" y="950"/>
                  </a:cubicBezTo>
                  <a:cubicBezTo>
                    <a:pt x="494" y="734"/>
                    <a:pt x="669" y="559"/>
                    <a:pt x="885" y="559"/>
                  </a:cubicBezTo>
                  <a:cubicBezTo>
                    <a:pt x="959" y="559"/>
                    <a:pt x="1016" y="577"/>
                    <a:pt x="1056" y="597"/>
                  </a:cubicBezTo>
                  <a:cubicBezTo>
                    <a:pt x="1065" y="601"/>
                    <a:pt x="1075" y="595"/>
                    <a:pt x="1077" y="585"/>
                  </a:cubicBezTo>
                  <a:cubicBezTo>
                    <a:pt x="1079" y="571"/>
                    <a:pt x="1084" y="553"/>
                    <a:pt x="1089" y="534"/>
                  </a:cubicBezTo>
                  <a:cubicBezTo>
                    <a:pt x="1243" y="609"/>
                    <a:pt x="1349" y="768"/>
                    <a:pt x="1349" y="950"/>
                  </a:cubicBezTo>
                  <a:cubicBezTo>
                    <a:pt x="1349" y="974"/>
                    <a:pt x="1347" y="998"/>
                    <a:pt x="1343" y="1021"/>
                  </a:cubicBezTo>
                  <a:cubicBezTo>
                    <a:pt x="1328" y="1014"/>
                    <a:pt x="1314" y="1005"/>
                    <a:pt x="1299" y="996"/>
                  </a:cubicBezTo>
                  <a:cubicBezTo>
                    <a:pt x="1283" y="987"/>
                    <a:pt x="1274" y="994"/>
                    <a:pt x="1272" y="1009"/>
                  </a:cubicBezTo>
                  <a:cubicBezTo>
                    <a:pt x="1244" y="1200"/>
                    <a:pt x="1086" y="1341"/>
                    <a:pt x="894" y="1341"/>
                  </a:cubicBezTo>
                  <a:cubicBezTo>
                    <a:pt x="763" y="1341"/>
                    <a:pt x="691" y="1290"/>
                    <a:pt x="672" y="1250"/>
                  </a:cubicBezTo>
                  <a:cubicBezTo>
                    <a:pt x="662" y="1253"/>
                    <a:pt x="654" y="1262"/>
                    <a:pt x="654" y="1276"/>
                  </a:cubicBezTo>
                  <a:cubicBezTo>
                    <a:pt x="654" y="1300"/>
                    <a:pt x="694" y="1327"/>
                    <a:pt x="721" y="1340"/>
                  </a:cubicBezTo>
                  <a:cubicBezTo>
                    <a:pt x="761" y="1360"/>
                    <a:pt x="815" y="1377"/>
                    <a:pt x="894" y="1377"/>
                  </a:cubicBezTo>
                  <a:cubicBezTo>
                    <a:pt x="1095" y="1377"/>
                    <a:pt x="1261" y="1235"/>
                    <a:pt x="1303" y="1040"/>
                  </a:cubicBezTo>
                  <a:cubicBezTo>
                    <a:pt x="1314" y="1046"/>
                    <a:pt x="1325" y="1052"/>
                    <a:pt x="1337" y="1058"/>
                  </a:cubicBezTo>
                  <a:cubicBezTo>
                    <a:pt x="1290" y="1261"/>
                    <a:pt x="1113" y="1413"/>
                    <a:pt x="895" y="1413"/>
                  </a:cubicBezTo>
                  <a:cubicBezTo>
                    <a:pt x="713" y="1413"/>
                    <a:pt x="621" y="1325"/>
                    <a:pt x="616" y="1296"/>
                  </a:cubicBezTo>
                  <a:cubicBezTo>
                    <a:pt x="602" y="1296"/>
                    <a:pt x="594" y="1307"/>
                    <a:pt x="594" y="1320"/>
                  </a:cubicBezTo>
                  <a:cubicBezTo>
                    <a:pt x="594" y="1335"/>
                    <a:pt x="606" y="1350"/>
                    <a:pt x="619" y="1361"/>
                  </a:cubicBezTo>
                  <a:cubicBezTo>
                    <a:pt x="653" y="1392"/>
                    <a:pt x="738" y="1449"/>
                    <a:pt x="895" y="1449"/>
                  </a:cubicBezTo>
                  <a:cubicBezTo>
                    <a:pt x="1103" y="1449"/>
                    <a:pt x="1277" y="1320"/>
                    <a:pt x="1349" y="1138"/>
                  </a:cubicBezTo>
                  <a:cubicBezTo>
                    <a:pt x="1359" y="1143"/>
                    <a:pt x="1371" y="1147"/>
                    <a:pt x="1382" y="1152"/>
                  </a:cubicBezTo>
                  <a:cubicBezTo>
                    <a:pt x="1304" y="1348"/>
                    <a:pt x="1116" y="1485"/>
                    <a:pt x="894" y="1485"/>
                  </a:cubicBezTo>
                  <a:cubicBezTo>
                    <a:pt x="688" y="1485"/>
                    <a:pt x="549" y="1379"/>
                    <a:pt x="534" y="1297"/>
                  </a:cubicBezTo>
                  <a:cubicBezTo>
                    <a:pt x="522" y="1297"/>
                    <a:pt x="509" y="1308"/>
                    <a:pt x="509" y="1325"/>
                  </a:cubicBezTo>
                  <a:cubicBezTo>
                    <a:pt x="509" y="1338"/>
                    <a:pt x="520" y="1357"/>
                    <a:pt x="523" y="1362"/>
                  </a:cubicBezTo>
                  <a:cubicBezTo>
                    <a:pt x="554" y="1410"/>
                    <a:pt x="665" y="1521"/>
                    <a:pt x="894" y="1521"/>
                  </a:cubicBezTo>
                  <a:cubicBezTo>
                    <a:pt x="1132" y="1521"/>
                    <a:pt x="1334" y="1373"/>
                    <a:pt x="1416" y="1162"/>
                  </a:cubicBezTo>
                  <a:cubicBezTo>
                    <a:pt x="1455" y="1173"/>
                    <a:pt x="1501" y="1179"/>
                    <a:pt x="1557" y="1179"/>
                  </a:cubicBezTo>
                  <a:cubicBezTo>
                    <a:pt x="1928" y="1179"/>
                    <a:pt x="2065" y="901"/>
                    <a:pt x="2089" y="800"/>
                  </a:cubicBezTo>
                  <a:cubicBezTo>
                    <a:pt x="2104" y="734"/>
                    <a:pt x="2096" y="711"/>
                    <a:pt x="2062" y="711"/>
                  </a:cubicBezTo>
                  <a:close/>
                  <a:moveTo>
                    <a:pt x="1002" y="465"/>
                  </a:moveTo>
                  <a:cubicBezTo>
                    <a:pt x="964" y="456"/>
                    <a:pt x="925" y="451"/>
                    <a:pt x="885" y="451"/>
                  </a:cubicBezTo>
                  <a:cubicBezTo>
                    <a:pt x="610" y="451"/>
                    <a:pt x="386" y="675"/>
                    <a:pt x="386" y="950"/>
                  </a:cubicBezTo>
                  <a:cubicBezTo>
                    <a:pt x="386" y="982"/>
                    <a:pt x="388" y="1021"/>
                    <a:pt x="400" y="1055"/>
                  </a:cubicBezTo>
                  <a:cubicBezTo>
                    <a:pt x="364" y="1065"/>
                    <a:pt x="351" y="1028"/>
                    <a:pt x="351" y="984"/>
                  </a:cubicBezTo>
                  <a:cubicBezTo>
                    <a:pt x="351" y="984"/>
                    <a:pt x="351" y="979"/>
                    <a:pt x="351" y="968"/>
                  </a:cubicBezTo>
                  <a:cubicBezTo>
                    <a:pt x="354" y="837"/>
                    <a:pt x="385" y="763"/>
                    <a:pt x="385" y="763"/>
                  </a:cubicBezTo>
                  <a:cubicBezTo>
                    <a:pt x="422" y="661"/>
                    <a:pt x="490" y="577"/>
                    <a:pt x="577" y="514"/>
                  </a:cubicBezTo>
                  <a:cubicBezTo>
                    <a:pt x="667" y="449"/>
                    <a:pt x="774" y="415"/>
                    <a:pt x="885" y="415"/>
                  </a:cubicBezTo>
                  <a:cubicBezTo>
                    <a:pt x="928" y="415"/>
                    <a:pt x="971" y="420"/>
                    <a:pt x="1012" y="430"/>
                  </a:cubicBezTo>
                  <a:cubicBezTo>
                    <a:pt x="1008" y="441"/>
                    <a:pt x="1005" y="453"/>
                    <a:pt x="1002" y="465"/>
                  </a:cubicBezTo>
                  <a:close/>
                  <a:moveTo>
                    <a:pt x="1162" y="535"/>
                  </a:moveTo>
                  <a:cubicBezTo>
                    <a:pt x="1166" y="523"/>
                    <a:pt x="1169" y="511"/>
                    <a:pt x="1173" y="499"/>
                  </a:cubicBezTo>
                  <a:cubicBezTo>
                    <a:pt x="1324" y="595"/>
                    <a:pt x="1421" y="764"/>
                    <a:pt x="1421" y="950"/>
                  </a:cubicBezTo>
                  <a:cubicBezTo>
                    <a:pt x="1421" y="959"/>
                    <a:pt x="1420" y="968"/>
                    <a:pt x="1420" y="978"/>
                  </a:cubicBezTo>
                  <a:cubicBezTo>
                    <a:pt x="1406" y="973"/>
                    <a:pt x="1394" y="969"/>
                    <a:pt x="1384" y="964"/>
                  </a:cubicBezTo>
                  <a:cubicBezTo>
                    <a:pt x="1384" y="960"/>
                    <a:pt x="1384" y="955"/>
                    <a:pt x="1384" y="950"/>
                  </a:cubicBezTo>
                  <a:cubicBezTo>
                    <a:pt x="1384" y="777"/>
                    <a:pt x="1296" y="625"/>
                    <a:pt x="1162" y="53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595373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">
          <p15:clr>
            <a:srgbClr val="FBAE40"/>
          </p15:clr>
        </p15:guide>
        <p15:guide id="2" orient="horz" pos="1350">
          <p15:clr>
            <a:srgbClr val="FBAE40"/>
          </p15:clr>
        </p15:guide>
        <p15:guide id="3" orient="horz" pos="2014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6_Cover_approved_question_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660134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2" imgH="353" progId="TCLayout.ActiveDocument.1">
                  <p:embed/>
                </p:oleObj>
              </mc:Choice>
              <mc:Fallback>
                <p:oleObj name="think-cell Folie" r:id="rId4" imgW="352" imgH="353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2D2DA"/>
          </a:solidFill>
          <a:ln w="12700" cap="sq" cmpd="sng" algn="ctr">
            <a:noFill/>
            <a:prstDash val="solid"/>
            <a:miter lim="800000"/>
            <a:tailEnd type="none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000" b="0" i="0" u="none" strike="noStrike" kern="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grpSp>
        <p:nvGrpSpPr>
          <p:cNvPr id="235" name="Group 234">
            <a:extLst>
              <a:ext uri="{FF2B5EF4-FFF2-40B4-BE49-F238E27FC236}">
                <a16:creationId xmlns:a16="http://schemas.microsoft.com/office/drawing/2014/main" id="{5342E118-6F1D-4C46-956E-4CCCBCAA7952}"/>
              </a:ext>
            </a:extLst>
          </p:cNvPr>
          <p:cNvGrpSpPr/>
          <p:nvPr userDrawn="1"/>
        </p:nvGrpSpPr>
        <p:grpSpPr bwMode="invGray">
          <a:xfrm>
            <a:off x="622940" y="5826612"/>
            <a:ext cx="3878023" cy="570195"/>
            <a:chOff x="498115" y="5951018"/>
            <a:chExt cx="3878023" cy="570195"/>
          </a:xfrm>
        </p:grpSpPr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A22049CA-64AE-409F-988D-A7317F8AD136}"/>
                </a:ext>
              </a:extLst>
            </p:cNvPr>
            <p:cNvSpPr>
              <a:spLocks noChangeArrowheads="1"/>
            </p:cNvSpPr>
            <p:nvPr userDrawn="1"/>
          </p:nvSpPr>
          <p:spPr bwMode="invGray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69" name="Rectangle 6">
              <a:extLst>
                <a:ext uri="{FF2B5EF4-FFF2-40B4-BE49-F238E27FC236}">
                  <a16:creationId xmlns:a16="http://schemas.microsoft.com/office/drawing/2014/main" id="{E37A0A05-0A78-44A7-8873-0A1A20C87175}"/>
                </a:ext>
              </a:extLst>
            </p:cNvPr>
            <p:cNvSpPr>
              <a:spLocks noChangeArrowheads="1"/>
            </p:cNvSpPr>
            <p:nvPr userDrawn="1"/>
          </p:nvSpPr>
          <p:spPr bwMode="invGray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70" name="Rectangle 7">
              <a:extLst>
                <a:ext uri="{FF2B5EF4-FFF2-40B4-BE49-F238E27FC236}">
                  <a16:creationId xmlns:a16="http://schemas.microsoft.com/office/drawing/2014/main" id="{0DEA0CBE-8527-4287-BF98-DA48947875F5}"/>
                </a:ext>
              </a:extLst>
            </p:cNvPr>
            <p:cNvSpPr>
              <a:spLocks noChangeArrowheads="1"/>
            </p:cNvSpPr>
            <p:nvPr userDrawn="1"/>
          </p:nvSpPr>
          <p:spPr bwMode="invGray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71" name="Freeform 8">
              <a:extLst>
                <a:ext uri="{FF2B5EF4-FFF2-40B4-BE49-F238E27FC236}">
                  <a16:creationId xmlns:a16="http://schemas.microsoft.com/office/drawing/2014/main" id="{444058C6-612A-446E-8F68-0E5CC4CFF366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2" name="Freeform 9">
              <a:extLst>
                <a:ext uri="{FF2B5EF4-FFF2-40B4-BE49-F238E27FC236}">
                  <a16:creationId xmlns:a16="http://schemas.microsoft.com/office/drawing/2014/main" id="{1011EC31-E0C3-404F-93B3-EFD3DADC11CB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3" name="Freeform 10">
              <a:extLst>
                <a:ext uri="{FF2B5EF4-FFF2-40B4-BE49-F238E27FC236}">
                  <a16:creationId xmlns:a16="http://schemas.microsoft.com/office/drawing/2014/main" id="{3C9D076B-D88C-4089-8D58-9A31CFCDB02A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4" name="Freeform 11">
              <a:extLst>
                <a:ext uri="{FF2B5EF4-FFF2-40B4-BE49-F238E27FC236}">
                  <a16:creationId xmlns:a16="http://schemas.microsoft.com/office/drawing/2014/main" id="{29DB43AC-B765-4ECB-B483-562473BD4A38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5" name="Freeform 12">
              <a:extLst>
                <a:ext uri="{FF2B5EF4-FFF2-40B4-BE49-F238E27FC236}">
                  <a16:creationId xmlns:a16="http://schemas.microsoft.com/office/drawing/2014/main" id="{AF1DE1B8-EA4B-4A98-A97D-BA5EEA42B197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6" name="Freeform 13">
              <a:extLst>
                <a:ext uri="{FF2B5EF4-FFF2-40B4-BE49-F238E27FC236}">
                  <a16:creationId xmlns:a16="http://schemas.microsoft.com/office/drawing/2014/main" id="{F8F60B79-7AF5-4C5E-A5EF-126F117D591C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7" name="Freeform 14">
              <a:extLst>
                <a:ext uri="{FF2B5EF4-FFF2-40B4-BE49-F238E27FC236}">
                  <a16:creationId xmlns:a16="http://schemas.microsoft.com/office/drawing/2014/main" id="{0A0438AD-9937-4C25-AB9E-7F8C8CCA23F7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8" name="Freeform 15">
              <a:extLst>
                <a:ext uri="{FF2B5EF4-FFF2-40B4-BE49-F238E27FC236}">
                  <a16:creationId xmlns:a16="http://schemas.microsoft.com/office/drawing/2014/main" id="{6FDE2726-7032-4BE4-A420-0ECF49A32A8B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9" name="Freeform 16">
              <a:extLst>
                <a:ext uri="{FF2B5EF4-FFF2-40B4-BE49-F238E27FC236}">
                  <a16:creationId xmlns:a16="http://schemas.microsoft.com/office/drawing/2014/main" id="{50C22C21-F8DB-486D-9042-765D68AE3A7C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0" name="Freeform 17">
              <a:extLst>
                <a:ext uri="{FF2B5EF4-FFF2-40B4-BE49-F238E27FC236}">
                  <a16:creationId xmlns:a16="http://schemas.microsoft.com/office/drawing/2014/main" id="{7F763F72-BB8F-482C-9FDA-40EDD6EE5FF8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1" name="Freeform 18">
              <a:extLst>
                <a:ext uri="{FF2B5EF4-FFF2-40B4-BE49-F238E27FC236}">
                  <a16:creationId xmlns:a16="http://schemas.microsoft.com/office/drawing/2014/main" id="{710F466C-6BEC-4970-9707-40D8002740B0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2" name="Freeform 19">
              <a:extLst>
                <a:ext uri="{FF2B5EF4-FFF2-40B4-BE49-F238E27FC236}">
                  <a16:creationId xmlns:a16="http://schemas.microsoft.com/office/drawing/2014/main" id="{3332407D-F423-41B2-985F-8A4482C61D9E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3" name="Freeform 20">
              <a:extLst>
                <a:ext uri="{FF2B5EF4-FFF2-40B4-BE49-F238E27FC236}">
                  <a16:creationId xmlns:a16="http://schemas.microsoft.com/office/drawing/2014/main" id="{44E3286F-1188-47B1-8B46-3498795DF2DC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4" name="Freeform 21">
              <a:extLst>
                <a:ext uri="{FF2B5EF4-FFF2-40B4-BE49-F238E27FC236}">
                  <a16:creationId xmlns:a16="http://schemas.microsoft.com/office/drawing/2014/main" id="{E7BD9E0B-920A-4409-95E7-40A47107B346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5" name="Freeform 22">
              <a:extLst>
                <a:ext uri="{FF2B5EF4-FFF2-40B4-BE49-F238E27FC236}">
                  <a16:creationId xmlns:a16="http://schemas.microsoft.com/office/drawing/2014/main" id="{9D2625B8-0A5B-46EF-8302-77353AB0D3A9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6" name="Freeform 23">
              <a:extLst>
                <a:ext uri="{FF2B5EF4-FFF2-40B4-BE49-F238E27FC236}">
                  <a16:creationId xmlns:a16="http://schemas.microsoft.com/office/drawing/2014/main" id="{DE6C9E0E-C49B-4FBE-97F3-BB6DFAC57421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7" name="Freeform 24">
              <a:extLst>
                <a:ext uri="{FF2B5EF4-FFF2-40B4-BE49-F238E27FC236}">
                  <a16:creationId xmlns:a16="http://schemas.microsoft.com/office/drawing/2014/main" id="{580801ED-9260-41DB-A0B7-5AF24B32272B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8" name="Freeform 25">
              <a:extLst>
                <a:ext uri="{FF2B5EF4-FFF2-40B4-BE49-F238E27FC236}">
                  <a16:creationId xmlns:a16="http://schemas.microsoft.com/office/drawing/2014/main" id="{3A9842FB-6E95-4D11-B5B9-58C4CB82C2FE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9" name="Freeform 26">
              <a:extLst>
                <a:ext uri="{FF2B5EF4-FFF2-40B4-BE49-F238E27FC236}">
                  <a16:creationId xmlns:a16="http://schemas.microsoft.com/office/drawing/2014/main" id="{076538BB-C266-42BE-916B-458AF9EFB224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0" name="Freeform 27">
              <a:extLst>
                <a:ext uri="{FF2B5EF4-FFF2-40B4-BE49-F238E27FC236}">
                  <a16:creationId xmlns:a16="http://schemas.microsoft.com/office/drawing/2014/main" id="{A7C95C0F-A1E9-46B5-B9DB-284F35C72801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1" name="Freeform 28">
              <a:extLst>
                <a:ext uri="{FF2B5EF4-FFF2-40B4-BE49-F238E27FC236}">
                  <a16:creationId xmlns:a16="http://schemas.microsoft.com/office/drawing/2014/main" id="{BEEA6186-B2B9-4E5E-9631-B6332C7FDBA3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2" name="Freeform 29">
              <a:extLst>
                <a:ext uri="{FF2B5EF4-FFF2-40B4-BE49-F238E27FC236}">
                  <a16:creationId xmlns:a16="http://schemas.microsoft.com/office/drawing/2014/main" id="{E9B00A5D-BE04-4D7D-B4A2-204E2D0E0485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3" name="Freeform 30">
              <a:extLst>
                <a:ext uri="{FF2B5EF4-FFF2-40B4-BE49-F238E27FC236}">
                  <a16:creationId xmlns:a16="http://schemas.microsoft.com/office/drawing/2014/main" id="{72C85502-C007-49A3-A8AB-2BCC8C53945F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4" name="Freeform 31">
              <a:extLst>
                <a:ext uri="{FF2B5EF4-FFF2-40B4-BE49-F238E27FC236}">
                  <a16:creationId xmlns:a16="http://schemas.microsoft.com/office/drawing/2014/main" id="{9A42586B-B388-4323-82EB-ED3423EDC5DE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5" name="Freeform 32">
              <a:extLst>
                <a:ext uri="{FF2B5EF4-FFF2-40B4-BE49-F238E27FC236}">
                  <a16:creationId xmlns:a16="http://schemas.microsoft.com/office/drawing/2014/main" id="{558D2F0C-3796-492F-9EBD-4BB822191F30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6" name="Freeform 33">
              <a:extLst>
                <a:ext uri="{FF2B5EF4-FFF2-40B4-BE49-F238E27FC236}">
                  <a16:creationId xmlns:a16="http://schemas.microsoft.com/office/drawing/2014/main" id="{DE4E3633-17EF-414F-A86D-0B6A9F2F098F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7" name="Freeform 34">
              <a:extLst>
                <a:ext uri="{FF2B5EF4-FFF2-40B4-BE49-F238E27FC236}">
                  <a16:creationId xmlns:a16="http://schemas.microsoft.com/office/drawing/2014/main" id="{2572AE39-9386-47FC-B6AF-FBCF804BEBF8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8" name="Freeform 35">
              <a:extLst>
                <a:ext uri="{FF2B5EF4-FFF2-40B4-BE49-F238E27FC236}">
                  <a16:creationId xmlns:a16="http://schemas.microsoft.com/office/drawing/2014/main" id="{7096AEC6-B8C0-4212-842F-89677AE7D800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9" name="Freeform 36">
              <a:extLst>
                <a:ext uri="{FF2B5EF4-FFF2-40B4-BE49-F238E27FC236}">
                  <a16:creationId xmlns:a16="http://schemas.microsoft.com/office/drawing/2014/main" id="{406AD873-E434-40CF-BFBD-6D1D1CA7CB89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0" name="Freeform 37">
              <a:extLst>
                <a:ext uri="{FF2B5EF4-FFF2-40B4-BE49-F238E27FC236}">
                  <a16:creationId xmlns:a16="http://schemas.microsoft.com/office/drawing/2014/main" id="{74857EE2-44CC-4E8F-B1BB-355509B3EFE5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1" name="Freeform 38">
              <a:extLst>
                <a:ext uri="{FF2B5EF4-FFF2-40B4-BE49-F238E27FC236}">
                  <a16:creationId xmlns:a16="http://schemas.microsoft.com/office/drawing/2014/main" id="{D39EC8B1-952E-4BF5-9735-6A38584161BC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2" name="Freeform 39">
              <a:extLst>
                <a:ext uri="{FF2B5EF4-FFF2-40B4-BE49-F238E27FC236}">
                  <a16:creationId xmlns:a16="http://schemas.microsoft.com/office/drawing/2014/main" id="{EA37D3DF-3401-44BD-97F4-F423BFC87A10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3" name="Freeform 40">
              <a:extLst>
                <a:ext uri="{FF2B5EF4-FFF2-40B4-BE49-F238E27FC236}">
                  <a16:creationId xmlns:a16="http://schemas.microsoft.com/office/drawing/2014/main" id="{7DFA4B46-95EA-4D4D-800F-4D2DB7BB66E0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4" name="Freeform 41">
              <a:extLst>
                <a:ext uri="{FF2B5EF4-FFF2-40B4-BE49-F238E27FC236}">
                  <a16:creationId xmlns:a16="http://schemas.microsoft.com/office/drawing/2014/main" id="{EF5012BA-3255-4BEF-8F4F-9117A6BEF324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5" name="Freeform 42">
              <a:extLst>
                <a:ext uri="{FF2B5EF4-FFF2-40B4-BE49-F238E27FC236}">
                  <a16:creationId xmlns:a16="http://schemas.microsoft.com/office/drawing/2014/main" id="{223989A0-E246-4806-AF7E-9D6C2B1DD489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6" name="Freeform 43">
              <a:extLst>
                <a:ext uri="{FF2B5EF4-FFF2-40B4-BE49-F238E27FC236}">
                  <a16:creationId xmlns:a16="http://schemas.microsoft.com/office/drawing/2014/main" id="{5FED967A-F1ED-4489-A689-A9A49A278085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7" name="Freeform 44">
              <a:extLst>
                <a:ext uri="{FF2B5EF4-FFF2-40B4-BE49-F238E27FC236}">
                  <a16:creationId xmlns:a16="http://schemas.microsoft.com/office/drawing/2014/main" id="{DA362954-FE74-40B7-AB98-CC8AC60FFC8D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8" name="Freeform 45">
              <a:extLst>
                <a:ext uri="{FF2B5EF4-FFF2-40B4-BE49-F238E27FC236}">
                  <a16:creationId xmlns:a16="http://schemas.microsoft.com/office/drawing/2014/main" id="{C1C7EF3F-CB28-4C69-901C-8F9F09C5B597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9" name="Freeform 46">
              <a:extLst>
                <a:ext uri="{FF2B5EF4-FFF2-40B4-BE49-F238E27FC236}">
                  <a16:creationId xmlns:a16="http://schemas.microsoft.com/office/drawing/2014/main" id="{80D5AA14-D31C-42E8-B89F-2FCABF204007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0" name="Freeform 47">
              <a:extLst>
                <a:ext uri="{FF2B5EF4-FFF2-40B4-BE49-F238E27FC236}">
                  <a16:creationId xmlns:a16="http://schemas.microsoft.com/office/drawing/2014/main" id="{3894EB82-A456-47F8-BB06-FE894AF4B86B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1" name="Freeform 48">
              <a:extLst>
                <a:ext uri="{FF2B5EF4-FFF2-40B4-BE49-F238E27FC236}">
                  <a16:creationId xmlns:a16="http://schemas.microsoft.com/office/drawing/2014/main" id="{A88F5C3F-FAE1-4A50-86D3-E9A1CAA89A96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2" name="Freeform 49">
              <a:extLst>
                <a:ext uri="{FF2B5EF4-FFF2-40B4-BE49-F238E27FC236}">
                  <a16:creationId xmlns:a16="http://schemas.microsoft.com/office/drawing/2014/main" id="{1EFCBDA7-FA42-4391-9872-95EB6DDEA684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3" name="Freeform 50">
              <a:extLst>
                <a:ext uri="{FF2B5EF4-FFF2-40B4-BE49-F238E27FC236}">
                  <a16:creationId xmlns:a16="http://schemas.microsoft.com/office/drawing/2014/main" id="{721D8C30-DB23-4A0B-8A74-BC467086477D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4" name="Freeform 51">
              <a:extLst>
                <a:ext uri="{FF2B5EF4-FFF2-40B4-BE49-F238E27FC236}">
                  <a16:creationId xmlns:a16="http://schemas.microsoft.com/office/drawing/2014/main" id="{01AD00CA-8BC7-4B62-AC64-03851855A7AE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5" name="Freeform 52">
              <a:extLst>
                <a:ext uri="{FF2B5EF4-FFF2-40B4-BE49-F238E27FC236}">
                  <a16:creationId xmlns:a16="http://schemas.microsoft.com/office/drawing/2014/main" id="{BC957590-E3D7-48BF-A1DF-73DCD7673857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6" name="Freeform 53">
              <a:extLst>
                <a:ext uri="{FF2B5EF4-FFF2-40B4-BE49-F238E27FC236}">
                  <a16:creationId xmlns:a16="http://schemas.microsoft.com/office/drawing/2014/main" id="{9BC2125B-AF0E-4411-AFA7-3F79B873BFBA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7" name="Freeform 54">
              <a:extLst>
                <a:ext uri="{FF2B5EF4-FFF2-40B4-BE49-F238E27FC236}">
                  <a16:creationId xmlns:a16="http://schemas.microsoft.com/office/drawing/2014/main" id="{1E5BE33C-9675-423A-802C-0A789DB1851B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8" name="Freeform 55">
              <a:extLst>
                <a:ext uri="{FF2B5EF4-FFF2-40B4-BE49-F238E27FC236}">
                  <a16:creationId xmlns:a16="http://schemas.microsoft.com/office/drawing/2014/main" id="{FB04A8AC-9DA2-4FB3-985A-DD8E6439135C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9" name="Freeform 56">
              <a:extLst>
                <a:ext uri="{FF2B5EF4-FFF2-40B4-BE49-F238E27FC236}">
                  <a16:creationId xmlns:a16="http://schemas.microsoft.com/office/drawing/2014/main" id="{F365BB87-C861-4F40-A844-477BAA1EAA55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0" name="Freeform 57">
              <a:extLst>
                <a:ext uri="{FF2B5EF4-FFF2-40B4-BE49-F238E27FC236}">
                  <a16:creationId xmlns:a16="http://schemas.microsoft.com/office/drawing/2014/main" id="{8B7E2806-AAFA-45B5-B801-55C79A927799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1" name="Freeform 58">
              <a:extLst>
                <a:ext uri="{FF2B5EF4-FFF2-40B4-BE49-F238E27FC236}">
                  <a16:creationId xmlns:a16="http://schemas.microsoft.com/office/drawing/2014/main" id="{7A49B80F-B4C0-4F31-9238-8123D3E20D16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2" name="Freeform 59">
              <a:extLst>
                <a:ext uri="{FF2B5EF4-FFF2-40B4-BE49-F238E27FC236}">
                  <a16:creationId xmlns:a16="http://schemas.microsoft.com/office/drawing/2014/main" id="{9C60C45F-865F-4118-A4B0-174C696B472F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3" name="Freeform 60">
              <a:extLst>
                <a:ext uri="{FF2B5EF4-FFF2-40B4-BE49-F238E27FC236}">
                  <a16:creationId xmlns:a16="http://schemas.microsoft.com/office/drawing/2014/main" id="{15FBF980-B96C-472B-A46B-A731CA164E92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4" name="Freeform 61">
              <a:extLst>
                <a:ext uri="{FF2B5EF4-FFF2-40B4-BE49-F238E27FC236}">
                  <a16:creationId xmlns:a16="http://schemas.microsoft.com/office/drawing/2014/main" id="{64F1DD18-05EE-4F9F-9E6B-E03C4C500F21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5" name="Freeform 62">
              <a:extLst>
                <a:ext uri="{FF2B5EF4-FFF2-40B4-BE49-F238E27FC236}">
                  <a16:creationId xmlns:a16="http://schemas.microsoft.com/office/drawing/2014/main" id="{6051CC00-BFF2-4334-9855-62AD588546F7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6" name="Freeform 63">
              <a:extLst>
                <a:ext uri="{FF2B5EF4-FFF2-40B4-BE49-F238E27FC236}">
                  <a16:creationId xmlns:a16="http://schemas.microsoft.com/office/drawing/2014/main" id="{905DD261-B224-46ED-8CEE-E8D180BA4B72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7" name="Freeform 64">
              <a:extLst>
                <a:ext uri="{FF2B5EF4-FFF2-40B4-BE49-F238E27FC236}">
                  <a16:creationId xmlns:a16="http://schemas.microsoft.com/office/drawing/2014/main" id="{A23129DF-0296-4CA9-9723-124682F0A70E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8" name="Freeform 65">
              <a:extLst>
                <a:ext uri="{FF2B5EF4-FFF2-40B4-BE49-F238E27FC236}">
                  <a16:creationId xmlns:a16="http://schemas.microsoft.com/office/drawing/2014/main" id="{A2A2BF8E-DA3A-4AC0-B7EB-7CAABFC9E699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9" name="Freeform 66">
              <a:extLst>
                <a:ext uri="{FF2B5EF4-FFF2-40B4-BE49-F238E27FC236}">
                  <a16:creationId xmlns:a16="http://schemas.microsoft.com/office/drawing/2014/main" id="{BEBFC1A4-92B9-418F-A0A9-2E210A37BCFF}"/>
                </a:ext>
              </a:extLst>
            </p:cNvPr>
            <p:cNvSpPr>
              <a:spLocks noEditPoints="1"/>
            </p:cNvSpPr>
            <p:nvPr userDrawn="1"/>
          </p:nvSpPr>
          <p:spPr bwMode="invGray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30" name="Freeform 67">
              <a:extLst>
                <a:ext uri="{FF2B5EF4-FFF2-40B4-BE49-F238E27FC236}">
                  <a16:creationId xmlns:a16="http://schemas.microsoft.com/office/drawing/2014/main" id="{A28B9FD0-8354-4DD6-856A-157C5F8768EB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31" name="Freeform 68">
              <a:extLst>
                <a:ext uri="{FF2B5EF4-FFF2-40B4-BE49-F238E27FC236}">
                  <a16:creationId xmlns:a16="http://schemas.microsoft.com/office/drawing/2014/main" id="{83D3DEEE-A610-48BE-BADD-6BA188B5B86D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32" name="Freeform 69">
              <a:extLst>
                <a:ext uri="{FF2B5EF4-FFF2-40B4-BE49-F238E27FC236}">
                  <a16:creationId xmlns:a16="http://schemas.microsoft.com/office/drawing/2014/main" id="{463C7ADB-C654-4D24-9055-0B6003A770A3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33" name="Freeform 70">
              <a:extLst>
                <a:ext uri="{FF2B5EF4-FFF2-40B4-BE49-F238E27FC236}">
                  <a16:creationId xmlns:a16="http://schemas.microsoft.com/office/drawing/2014/main" id="{40CF3793-E792-4DB3-8064-4B43F4706A3D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  <p:sp>
        <p:nvSpPr>
          <p:cNvPr id="18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1069705" y="2158329"/>
            <a:ext cx="4808220" cy="860400"/>
          </a:xfrm>
          <a:prstGeom prst="rect">
            <a:avLst/>
          </a:prstGeo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9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1069897" y="3200329"/>
            <a:ext cx="4808028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44A731D0-020D-4D8E-955D-2354AF0FE452}"/>
              </a:ext>
            </a:extLst>
          </p:cNvPr>
          <p:cNvSpPr/>
          <p:nvPr userDrawn="1"/>
        </p:nvSpPr>
        <p:spPr>
          <a:xfrm>
            <a:off x="614191" y="723658"/>
            <a:ext cx="5680945" cy="3452894"/>
          </a:xfrm>
          <a:custGeom>
            <a:avLst/>
            <a:gdLst>
              <a:gd name="connsiteX0" fmla="*/ 8749 w 5680945"/>
              <a:gd name="connsiteY0" fmla="*/ 1021520 h 3452894"/>
              <a:gd name="connsiteX1" fmla="*/ 8749 w 5680945"/>
              <a:gd name="connsiteY1" fmla="*/ 3164181 h 3452894"/>
              <a:gd name="connsiteX2" fmla="*/ 151414 w 5680945"/>
              <a:gd name="connsiteY2" fmla="*/ 3164181 h 3452894"/>
              <a:gd name="connsiteX3" fmla="*/ 151414 w 5680945"/>
              <a:gd name="connsiteY3" fmla="*/ 1140155 h 3452894"/>
              <a:gd name="connsiteX4" fmla="*/ 5534897 w 5680945"/>
              <a:gd name="connsiteY4" fmla="*/ 179294 h 3452894"/>
              <a:gd name="connsiteX5" fmla="*/ 5534897 w 5680945"/>
              <a:gd name="connsiteY5" fmla="*/ 3306846 h 3452894"/>
              <a:gd name="connsiteX6" fmla="*/ 864624 w 5680945"/>
              <a:gd name="connsiteY6" fmla="*/ 3306846 h 3452894"/>
              <a:gd name="connsiteX7" fmla="*/ 864624 w 5680945"/>
              <a:gd name="connsiteY7" fmla="*/ 3449395 h 3452894"/>
              <a:gd name="connsiteX8" fmla="*/ 5677562 w 5680945"/>
              <a:gd name="connsiteY8" fmla="*/ 3449395 h 3452894"/>
              <a:gd name="connsiteX9" fmla="*/ 5677562 w 5680945"/>
              <a:gd name="connsiteY9" fmla="*/ 8749 h 3452894"/>
              <a:gd name="connsiteX10" fmla="*/ 8749 w 5680945"/>
              <a:gd name="connsiteY10" fmla="*/ 1021520 h 3452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680945" h="3452894">
                <a:moveTo>
                  <a:pt x="8749" y="1021520"/>
                </a:moveTo>
                <a:lnTo>
                  <a:pt x="8749" y="3164181"/>
                </a:lnTo>
                <a:lnTo>
                  <a:pt x="151414" y="3164181"/>
                </a:lnTo>
                <a:lnTo>
                  <a:pt x="151414" y="1140155"/>
                </a:lnTo>
                <a:lnTo>
                  <a:pt x="5534897" y="179294"/>
                </a:lnTo>
                <a:lnTo>
                  <a:pt x="5534897" y="3306846"/>
                </a:lnTo>
                <a:lnTo>
                  <a:pt x="864624" y="3306846"/>
                </a:lnTo>
                <a:lnTo>
                  <a:pt x="864624" y="3449395"/>
                </a:lnTo>
                <a:lnTo>
                  <a:pt x="5677562" y="3449395"/>
                </a:lnTo>
                <a:lnTo>
                  <a:pt x="5677562" y="8749"/>
                </a:lnTo>
                <a:lnTo>
                  <a:pt x="8749" y="1021520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noProof="0" dirty="0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15324C54-B75E-4AC0-90C2-FA558C7716F7}"/>
              </a:ext>
            </a:extLst>
          </p:cNvPr>
          <p:cNvSpPr/>
          <p:nvPr/>
        </p:nvSpPr>
        <p:spPr>
          <a:xfrm>
            <a:off x="614191" y="4021755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noProof="0" dirty="0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CAA95478-C099-485F-AD95-A617656C6C7C}"/>
              </a:ext>
            </a:extLst>
          </p:cNvPr>
          <p:cNvSpPr/>
          <p:nvPr/>
        </p:nvSpPr>
        <p:spPr>
          <a:xfrm>
            <a:off x="899522" y="4021755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noProof="0" dirty="0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D65680A1-86D1-44C2-AA38-0DF5735F1F26}"/>
              </a:ext>
            </a:extLst>
          </p:cNvPr>
          <p:cNvSpPr/>
          <p:nvPr/>
        </p:nvSpPr>
        <p:spPr>
          <a:xfrm>
            <a:off x="1184735" y="4021755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noProof="0" dirty="0"/>
          </a:p>
        </p:txBody>
      </p:sp>
      <p:grpSp>
        <p:nvGrpSpPr>
          <p:cNvPr id="76" name="Group 4">
            <a:extLst>
              <a:ext uri="{FF2B5EF4-FFF2-40B4-BE49-F238E27FC236}">
                <a16:creationId xmlns:a16="http://schemas.microsoft.com/office/drawing/2014/main" id="{9D60B6B0-F7ED-4B9F-A77C-632AC4EA661D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77" name="Freeform 5">
              <a:extLst>
                <a:ext uri="{FF2B5EF4-FFF2-40B4-BE49-F238E27FC236}">
                  <a16:creationId xmlns:a16="http://schemas.microsoft.com/office/drawing/2014/main" id="{CC1B45B9-64DF-4C5B-9711-FA69AD5370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78" name="Freeform 6">
              <a:extLst>
                <a:ext uri="{FF2B5EF4-FFF2-40B4-BE49-F238E27FC236}">
                  <a16:creationId xmlns:a16="http://schemas.microsoft.com/office/drawing/2014/main" id="{BA55CB73-EE25-43B6-9720-855E16C4B1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</p:grpSp>
      <p:sp>
        <p:nvSpPr>
          <p:cNvPr id="80" name="Rectangle 9">
            <a:extLst>
              <a:ext uri="{FF2B5EF4-FFF2-40B4-BE49-F238E27FC236}">
                <a16:creationId xmlns:a16="http://schemas.microsoft.com/office/drawing/2014/main" id="{F314F876-941A-40CD-B64C-56E5901EC54D}"/>
              </a:ext>
            </a:extLst>
          </p:cNvPr>
          <p:cNvSpPr/>
          <p:nvPr userDrawn="1"/>
        </p:nvSpPr>
        <p:spPr>
          <a:xfrm>
            <a:off x="-2054226" y="-8465"/>
            <a:ext cx="1952299" cy="2446866"/>
          </a:xfrm>
          <a:prstGeom prst="rect">
            <a:avLst/>
          </a:pr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3972" tIns="53972" rIns="53972" bIns="53972" rtlCol="0" anchor="t" anchorCtr="0"/>
          <a:lstStyle/>
          <a:p>
            <a:pPr>
              <a:spcAft>
                <a:spcPts val="0"/>
              </a:spcAft>
            </a:pPr>
            <a:r>
              <a:rPr lang="en-US" sz="1200" b="1" dirty="0">
                <a:solidFill>
                  <a:srgbClr val="000000"/>
                </a:solidFill>
                <a:latin typeface="EYInterstate Light" panose="02000506000000020004" pitchFamily="2" charset="0"/>
              </a:rPr>
              <a:t>INSTRUCTIONS:</a:t>
            </a:r>
            <a:br>
              <a:rPr lang="en-US" sz="1200" b="1" dirty="0">
                <a:solidFill>
                  <a:srgbClr val="000000"/>
                </a:solidFill>
                <a:latin typeface="EYInterstate Light" panose="02000506000000020004" pitchFamily="2" charset="0"/>
              </a:rPr>
            </a:br>
            <a:r>
              <a:rPr lang="en-US" sz="1200" dirty="0">
                <a:solidFill>
                  <a:srgbClr val="000000"/>
                </a:solidFill>
              </a:rPr>
              <a:t>In order to use this frame cover template, </a:t>
            </a:r>
            <a:br>
              <a:rPr lang="en-US" sz="1200" dirty="0">
                <a:solidFill>
                  <a:srgbClr val="000000"/>
                </a:solidFill>
              </a:rPr>
            </a:br>
            <a:r>
              <a:rPr lang="en-US" sz="1200" dirty="0">
                <a:solidFill>
                  <a:srgbClr val="000000"/>
                </a:solidFill>
              </a:rPr>
              <a:t>an approved EY better question is required. See </a:t>
            </a:r>
            <a:r>
              <a:rPr lang="en-US" sz="1200" u="sng" dirty="0">
                <a:solidFill>
                  <a:srgbClr val="0563C1"/>
                </a:solidFill>
                <a:ea typeface="Calibri" panose="020F0502020204030204" pitchFamily="34" charset="0"/>
                <a:hlinkClick r:id="rId6"/>
              </a:rPr>
              <a:t>http://brandingzone.ey.net/national/bzcontest.nsf/controldocview/BetterQuestions/$file/fullpage.html#firstPage</a:t>
            </a:r>
            <a:r>
              <a:rPr lang="en-US" sz="1200" dirty="0">
                <a:ea typeface="Calibri" panose="020F0502020204030204" pitchFamily="34" charset="0"/>
              </a:rPr>
              <a:t> </a:t>
            </a:r>
            <a:r>
              <a:rPr lang="en-US" sz="1200" dirty="0">
                <a:solidFill>
                  <a:srgbClr val="000000"/>
                </a:solidFill>
              </a:rPr>
              <a:t>for information on how to formulate better questions.</a:t>
            </a:r>
            <a:endParaRPr lang="de-DE" sz="1200" dirty="0">
              <a:solidFill>
                <a:srgbClr val="000000"/>
              </a:solidFill>
            </a:endParaRPr>
          </a:p>
        </p:txBody>
      </p:sp>
      <p:pic>
        <p:nvPicPr>
          <p:cNvPr id="79" name="Grafik 78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01887" y="440057"/>
            <a:ext cx="1880290" cy="96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02924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">
          <p15:clr>
            <a:srgbClr val="FBAE40"/>
          </p15:clr>
        </p15:guide>
        <p15:guide id="2" orient="horz" pos="1350">
          <p15:clr>
            <a:srgbClr val="FBAE40"/>
          </p15:clr>
        </p15:guide>
        <p15:guide id="3" orient="horz" pos="2014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7_Cover_with_author_Ne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622940" y="795662"/>
            <a:ext cx="4930412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900329" y="1954221"/>
            <a:ext cx="4328932" cy="979702"/>
          </a:xfr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00329" y="3046158"/>
            <a:ext cx="4328932" cy="1046323"/>
          </a:xfrm>
          <a:prstGeom prst="rect">
            <a:avLst/>
          </a:prstGeom>
        </p:spPr>
        <p:txBody>
          <a:bodyPr/>
          <a:lstStyle>
            <a:lvl1pPr marL="0" indent="0" algn="l">
              <a:spcAft>
                <a:spcPts val="1200"/>
              </a:spcAft>
              <a:buNone/>
              <a:defRPr sz="2000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 b="1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 userDrawn="1"/>
        </p:nvCxnSpPr>
        <p:spPr>
          <a:xfrm>
            <a:off x="1486584" y="5709060"/>
            <a:ext cx="8122101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 userDrawn="1"/>
        </p:nvSpPr>
        <p:spPr>
          <a:xfrm>
            <a:off x="615384" y="5605200"/>
            <a:ext cx="1045073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US" sz="1200" noProof="0" dirty="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86584" y="6019189"/>
            <a:ext cx="3089275" cy="1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Name Surname</a:t>
            </a:r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486584" y="6216807"/>
            <a:ext cx="3089275" cy="18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Job Title</a:t>
            </a:r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29A5E1BC-8F6B-43EF-9FF6-8242E7708BD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15383" y="5914642"/>
            <a:ext cx="576000" cy="5760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grpSp>
        <p:nvGrpSpPr>
          <p:cNvPr id="2" name="Group 4">
            <a:extLst>
              <a:ext uri="{FF2B5EF4-FFF2-40B4-BE49-F238E27FC236}">
                <a16:creationId xmlns:a16="http://schemas.microsoft.com/office/drawing/2014/main" id="{63F02F42-4916-4588-807F-4BB7367EB0E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0BD928C5-1C7D-4599-A7E9-8AB1B188C6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37C281E8-2924-471F-A849-26C37A059B4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</p:grpSp>
      <p:pic>
        <p:nvPicPr>
          <p:cNvPr id="15" name="Grafik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01887" y="440057"/>
            <a:ext cx="1880290" cy="96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08197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8_Final_legal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>
          <a:xfrm>
            <a:off x="628566" y="292413"/>
            <a:ext cx="3142800" cy="520920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pPr lvl="0"/>
            <a:r>
              <a:rPr lang="en-US" dirty="0"/>
              <a:t>EY  |  Assurance | Tax | Transactions | Advisory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Refer to The Branding Zone for the latest boilerplate language. 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554895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andard_picture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8199120" y="0"/>
            <a:ext cx="3999231" cy="685799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918" y="294200"/>
            <a:ext cx="7300800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918" y="1137921"/>
            <a:ext cx="7299642" cy="87376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609918" y="2311401"/>
            <a:ext cx="3580117" cy="3781424"/>
          </a:xfrm>
          <a:prstGeom prst="rect">
            <a:avLst/>
          </a:prstGeom>
        </p:spPr>
        <p:txBody>
          <a:bodyPr numCol="1"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C7BD71A-882B-40FB-A05F-48ECC69FF73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329443" y="2311401"/>
            <a:ext cx="3580117" cy="1254759"/>
          </a:xfrm>
          <a:prstGeom prst="rect">
            <a:avLst/>
          </a:prstGeom>
        </p:spPr>
        <p:txBody>
          <a:bodyPr numCol="1"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ex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87D58C8-1517-42AA-8B2A-E449A3F6F02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329443" y="4236721"/>
            <a:ext cx="3580117" cy="1856104"/>
          </a:xfrm>
          <a:prstGeom prst="rect">
            <a:avLst/>
          </a:prstGeom>
        </p:spPr>
        <p:txBody>
          <a:bodyPr numCol="1"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Quot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8FDA286-FC7C-4768-AFFF-1618056D687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F83285F-A85E-48D5-A1E9-9EA175F117DB}" type="datetime3">
              <a:rPr lang="en-US" noProof="0" smtClean="0"/>
              <a:t>19 September 2023</a:t>
            </a:fld>
            <a:endParaRPr lang="en-US" noProof="0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9C73E4D-1EBD-404A-B8F4-9B8AD7336F3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 dirty="0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159C267-49E7-46A8-B353-C5EB81154AB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 noProof="0" dirty="0"/>
              <a:t>Page </a:t>
            </a:r>
            <a:fld id="{F1BC30E3-FFE5-4B91-AA19-87A149EBB9E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3" name="Line 10">
            <a:extLst>
              <a:ext uri="{FF2B5EF4-FFF2-40B4-BE49-F238E27FC236}">
                <a16:creationId xmlns:a16="http://schemas.microsoft.com/office/drawing/2014/main" id="{E820DC59-E206-4DC0-9012-584F8EBAF730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9" y="907750"/>
            <a:ext cx="7289482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63912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157" userDrawn="1">
          <p15:clr>
            <a:srgbClr val="FBAE40"/>
          </p15:clr>
        </p15:guide>
        <p15:guide id="2" orient="horz" pos="1457" userDrawn="1">
          <p15:clr>
            <a:srgbClr val="FBAE40"/>
          </p15:clr>
        </p15:guide>
        <p15:guide id="3" pos="4976" userDrawn="1">
          <p15:clr>
            <a:srgbClr val="FBAE40"/>
          </p15:clr>
        </p15:guide>
        <p15:guide id="4" pos="2731" userDrawn="1">
          <p15:clr>
            <a:srgbClr val="FBAE40"/>
          </p15:clr>
        </p15:guide>
        <p15:guide id="5" pos="264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andard_picture_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2384460" cy="685799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5294" y="294200"/>
            <a:ext cx="8892000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695293" y="1137921"/>
            <a:ext cx="2742882" cy="495490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5727083" y="1137921"/>
            <a:ext cx="2803842" cy="4954904"/>
          </a:xfrm>
          <a:prstGeom prst="rect">
            <a:avLst/>
          </a:prstGeom>
        </p:spPr>
        <p:txBody>
          <a:bodyPr numCol="1"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 userDrawn="1">
            <p:ph idx="12" hasCustomPrompt="1"/>
          </p:nvPr>
        </p:nvSpPr>
        <p:spPr>
          <a:xfrm>
            <a:off x="8819832" y="1137921"/>
            <a:ext cx="2768600" cy="2796151"/>
          </a:xfrm>
          <a:prstGeom prst="rect">
            <a:avLst/>
          </a:prstGeom>
        </p:spPr>
        <p:txBody>
          <a:bodyPr numCol="1"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ext</a:t>
            </a: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B63A7CBA-3151-452E-BD2F-D3E65CE1595F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2695294" y="907750"/>
            <a:ext cx="8892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57DDD53-DA5D-4F66-8EAA-913A40461E30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F80BBD3C-0F20-4269-B5A9-643E9AB4A672}" type="datetime3">
              <a:rPr lang="en-US" noProof="0" smtClean="0"/>
              <a:t>19 September 2023</a:t>
            </a:fld>
            <a:endParaRPr lang="en-US" noProof="0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9A18168-B280-402E-8310-35BC958D390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noProof="0" dirty="0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7D562B9-5194-4705-ABBD-89576E2CC7A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 noProof="0" dirty="0"/>
              <a:t>Page </a:t>
            </a:r>
            <a:fld id="{F1BC30E3-FFE5-4B91-AA19-87A149EBB9E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31381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87" userDrawn="1">
          <p15:clr>
            <a:srgbClr val="FBAE40"/>
          </p15:clr>
        </p15:guide>
        <p15:guide id="3" pos="3434" userDrawn="1">
          <p15:clr>
            <a:srgbClr val="FBAE40"/>
          </p15:clr>
        </p15:guide>
        <p15:guide id="4" pos="3593" userDrawn="1">
          <p15:clr>
            <a:srgbClr val="FBAE40"/>
          </p15:clr>
        </p15:guide>
        <p15:guide id="6" pos="5566" userDrawn="1">
          <p15:clr>
            <a:srgbClr val="FBAE40"/>
          </p15:clr>
        </p15:guide>
        <p15:guide id="7" pos="5384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Quote_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8F291EB0-15F5-4E9A-A38B-CE3AC1452E21}"/>
              </a:ext>
            </a:extLst>
          </p:cNvPr>
          <p:cNvSpPr txBox="1">
            <a:spLocks/>
          </p:cNvSpPr>
          <p:nvPr userDrawn="1"/>
        </p:nvSpPr>
        <p:spPr>
          <a:xfrm>
            <a:off x="477351" y="1488927"/>
            <a:ext cx="2338388" cy="858838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1200" noProof="0" dirty="0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5D2AC0-B4F7-4455-9AE0-201966050A6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2526765"/>
            <a:ext cx="5292000" cy="1800000"/>
          </a:xfrm>
          <a:prstGeom prst="rect">
            <a:avLst/>
          </a:prstGeom>
        </p:spPr>
        <p:txBody>
          <a:bodyPr lIns="0" tIns="46800" rIns="90000" bIns="46800">
            <a:noAutofit/>
          </a:bodyPr>
          <a:lstStyle>
            <a:lvl1pPr marL="356616" indent="-356616">
              <a:spcBef>
                <a:spcPts val="0"/>
              </a:spcBef>
              <a:buNone/>
              <a:defRPr lang="en-US" sz="2800" dirty="0" smtClean="0">
                <a:latin typeface="Georgia" panose="02040502050405020303" pitchFamily="18" charset="0"/>
              </a:defRPr>
            </a:lvl1pPr>
          </a:lstStyle>
          <a:p>
            <a:pPr marL="356616" lvl="0" indent="-356616">
              <a:spcBef>
                <a:spcPts val="0"/>
              </a:spcBef>
            </a:pPr>
            <a:r>
              <a:rPr lang="en-US" noProof="0" dirty="0"/>
              <a:t>Click to edit Master title style</a:t>
            </a:r>
            <a:endParaRPr lang="de-DE" noProof="0" dirty="0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1BA83A2-78F0-4F7E-836B-9B4B87820F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0" y="4632765"/>
            <a:ext cx="5292000" cy="316838"/>
          </a:xfrm>
          <a:prstGeom prst="rect">
            <a:avLst/>
          </a:prstGeom>
        </p:spPr>
        <p:txBody>
          <a:bodyPr lIns="0" tIns="46800" rIns="90000" bIns="4680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6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56616" indent="0">
              <a:buNone/>
              <a:defRPr lang="en-US" sz="2000" smtClean="0">
                <a:latin typeface="+mn-lt"/>
              </a:defRPr>
            </a:lvl2pPr>
            <a:lvl3pPr>
              <a:defRPr lang="en-US" sz="1800" smtClean="0">
                <a:latin typeface="+mn-lt"/>
              </a:defRPr>
            </a:lvl3pPr>
            <a:lvl4pPr>
              <a:defRPr lang="en-US" sz="1600" smtClean="0">
                <a:latin typeface="+mn-lt"/>
              </a:defRPr>
            </a:lvl4pPr>
            <a:lvl5pPr>
              <a:defRPr lang="en-IN" sz="16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noProof="0" dirty="0"/>
              <a:t>Name Surnam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34CE9DD-CE12-4D9F-8FD6-A2522F36C8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4971442"/>
            <a:ext cx="5292000" cy="316838"/>
          </a:xfrm>
          <a:prstGeom prst="rect">
            <a:avLst/>
          </a:prstGeom>
        </p:spPr>
        <p:txBody>
          <a:bodyPr lIns="0" tIns="46800" rIns="90000" bIns="4680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6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6616" indent="0">
              <a:buNone/>
              <a:defRPr lang="en-US" sz="2000" smtClean="0">
                <a:latin typeface="+mn-lt"/>
              </a:defRPr>
            </a:lvl2pPr>
            <a:lvl3pPr>
              <a:defRPr lang="en-US" sz="1800" smtClean="0">
                <a:latin typeface="+mn-lt"/>
              </a:defRPr>
            </a:lvl3pPr>
            <a:lvl4pPr>
              <a:defRPr lang="en-US" sz="1600" smtClean="0">
                <a:latin typeface="+mn-lt"/>
              </a:defRPr>
            </a:lvl4pPr>
            <a:lvl5pPr>
              <a:defRPr lang="en-IN" sz="16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noProof="0" dirty="0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23222848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Quote_cente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28D7EA5-A532-4D8B-9984-8F3D1FEA98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82751" y="2060235"/>
            <a:ext cx="7632848" cy="302552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ctr">
              <a:spcBef>
                <a:spcPts val="0"/>
              </a:spcBef>
              <a:spcAft>
                <a:spcPts val="0"/>
              </a:spcAft>
              <a:buNone/>
              <a:defRPr lang="en-US" sz="2800" dirty="0" smtClean="0">
                <a:latin typeface="Georgia" panose="02040502050405020303" pitchFamily="18" charset="0"/>
              </a:defRPr>
            </a:lvl1pPr>
          </a:lstStyle>
          <a:p>
            <a:pPr marL="356616" lvl="0" indent="-356616" algn="ctr">
              <a:spcBef>
                <a:spcPts val="0"/>
              </a:spcBef>
            </a:pPr>
            <a:r>
              <a:rPr lang="en-US" noProof="0" dirty="0"/>
              <a:t>Click to edit Master title style</a:t>
            </a:r>
            <a:endParaRPr lang="de-DE" noProof="0" dirty="0"/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9F9B9C3C-16F2-40B2-A460-0480520ECF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82751" y="5445367"/>
            <a:ext cx="7632848" cy="31683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ctr">
              <a:spcAft>
                <a:spcPts val="0"/>
              </a:spcAft>
              <a:buNone/>
              <a:defRPr lang="en-US" sz="1600" dirty="0" smtClean="0">
                <a:solidFill>
                  <a:srgbClr val="FFE600"/>
                </a:solidFill>
                <a:latin typeface="+mn-lt"/>
              </a:defRPr>
            </a:lvl1pPr>
          </a:lstStyle>
          <a:p>
            <a:pPr marL="356616" lvl="0" indent="-356616" algn="ctr">
              <a:spcBef>
                <a:spcPts val="0"/>
              </a:spcBef>
              <a:spcAft>
                <a:spcPts val="600"/>
              </a:spcAft>
            </a:pPr>
            <a:r>
              <a:rPr lang="en-US" noProof="0" dirty="0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04541C-CC5D-4455-8271-73223AE0A8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282751" y="5780617"/>
            <a:ext cx="7632848" cy="316838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ctr">
              <a:spcAft>
                <a:spcPts val="0"/>
              </a:spcAft>
              <a:buNone/>
              <a:defRPr lang="en-US" sz="1600" dirty="0" smtClean="0">
                <a:latin typeface="+mn-lt"/>
              </a:defRPr>
            </a:lvl1pPr>
          </a:lstStyle>
          <a:p>
            <a:pPr marL="356616" lvl="0" indent="-356616" algn="ctr">
              <a:spcBef>
                <a:spcPts val="0"/>
              </a:spcBef>
              <a:spcAft>
                <a:spcPts val="600"/>
              </a:spcAft>
            </a:pPr>
            <a:r>
              <a:rPr lang="en-US" noProof="0" dirty="0"/>
              <a:t>Job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BD672D3-B116-471A-8511-D80D5D920D93}"/>
              </a:ext>
            </a:extLst>
          </p:cNvPr>
          <p:cNvSpPr txBox="1">
            <a:spLocks/>
          </p:cNvSpPr>
          <p:nvPr userDrawn="1"/>
        </p:nvSpPr>
        <p:spPr>
          <a:xfrm>
            <a:off x="4929981" y="979787"/>
            <a:ext cx="2338388" cy="882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200" noProof="0" dirty="0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</p:spTree>
    <p:extLst>
      <p:ext uri="{BB962C8B-B14F-4D97-AF65-F5344CB8AC3E}">
        <p14:creationId xmlns:p14="http://schemas.microsoft.com/office/powerpoint/2010/main" val="35212200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Key_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8EDF149-816A-4257-A64D-E23E91A506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DA559F-DADA-431C-A6FD-3B97C6CEA495}" type="datetime3">
              <a:rPr lang="en-US" noProof="0" smtClean="0"/>
              <a:t>19 September 2023</a:t>
            </a:fld>
            <a:endParaRPr lang="en-US" noProof="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678256F-B716-4FA1-B0CC-85D20C72FC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2344F6A-D6D0-4CE3-8495-873C004D38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noProof="0" dirty="0"/>
              <a:t>Page </a:t>
            </a:r>
            <a:fld id="{F1BC30E3-FFE5-4B91-AA19-87A149EBB9E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257301" y="2469060"/>
            <a:ext cx="9683750" cy="78422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spcBef>
                <a:spcPts val="0"/>
              </a:spcBef>
              <a:buNone/>
              <a:defRPr sz="3200"/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 noProof="0" dirty="0"/>
              <a:t>Statement 32pt, EY Interstate Light</a:t>
            </a: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3111500" y="3605394"/>
            <a:ext cx="5975350" cy="14112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800"/>
            </a:lvl1pPr>
            <a:lvl2pPr marL="357187" indent="0" algn="ctr">
              <a:buFontTx/>
              <a:buNone/>
              <a:defRPr/>
            </a:lvl2pPr>
            <a:lvl3pPr marL="685800" indent="0" algn="ctr">
              <a:buFontTx/>
              <a:buNone/>
              <a:defRPr/>
            </a:lvl3pPr>
            <a:lvl4pPr marL="973138" indent="0" algn="ctr">
              <a:buFontTx/>
              <a:buNone/>
              <a:defRPr/>
            </a:lvl4pPr>
            <a:lvl5pPr marL="1426464" indent="0" algn="ctr">
              <a:buFontTx/>
              <a:buNone/>
              <a:defRPr/>
            </a:lvl5pPr>
          </a:lstStyle>
          <a:p>
            <a:pPr lvl="0"/>
            <a:r>
              <a:rPr lang="en-US" noProof="0" dirty="0"/>
              <a:t>Description 18pt, </a:t>
            </a:r>
            <a:r>
              <a:rPr lang="en-US" noProof="0" dirty="0" err="1"/>
              <a:t>EYInterstate</a:t>
            </a:r>
            <a:r>
              <a:rPr lang="en-US" noProof="0" dirty="0"/>
              <a:t> Light ipsum dolor sit </a:t>
            </a:r>
            <a:br>
              <a:rPr lang="en-US" noProof="0" dirty="0"/>
            </a:b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quas</a:t>
            </a:r>
            <a:r>
              <a:rPr lang="en-US" noProof="0" dirty="0"/>
              <a:t> </a:t>
            </a:r>
            <a:r>
              <a:rPr lang="en-US" noProof="0" dirty="0" err="1"/>
              <a:t>nostru</a:t>
            </a:r>
            <a:r>
              <a:rPr lang="en-US" noProof="0" dirty="0"/>
              <a:t> </a:t>
            </a:r>
            <a:r>
              <a:rPr lang="en-US" noProof="0" dirty="0" err="1"/>
              <a:t>xgfc</a:t>
            </a:r>
            <a:r>
              <a:rPr lang="en-US" noProof="0" dirty="0"/>
              <a:t> </a:t>
            </a:r>
            <a:r>
              <a:rPr lang="en-US" noProof="0" dirty="0" err="1"/>
              <a:t>laoreet</a:t>
            </a:r>
            <a:r>
              <a:rPr lang="en-US" noProof="0" dirty="0"/>
              <a:t> per.</a:t>
            </a:r>
          </a:p>
        </p:txBody>
      </p:sp>
    </p:spTree>
    <p:extLst>
      <p:ext uri="{BB962C8B-B14F-4D97-AF65-F5344CB8AC3E}">
        <p14:creationId xmlns:p14="http://schemas.microsoft.com/office/powerpoint/2010/main" val="17943481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9_Two_columns_no_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918" y="294200"/>
            <a:ext cx="10978515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09918" y="1137919"/>
            <a:ext cx="5387605" cy="4954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 lang="en-US" noProof="0"/>
            </a:lvl1pPr>
            <a:lvl2pPr marL="271463" marR="0" indent="-2714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/>
            </a:lvl2pPr>
            <a:lvl3pPr marL="511175" marR="0" indent="-2333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/>
            </a:lvl3pPr>
            <a:lvl4pPr marL="746125" marR="0" indent="-2317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/>
            </a:lvl4pPr>
            <a:lvl5pPr marL="944563" marR="0" indent="-2016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Click to edit Master text styles</a:t>
            </a:r>
          </a:p>
          <a:p>
            <a:pPr marL="271463" marR="0" lvl="1" indent="-2714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Second level</a:t>
            </a:r>
          </a:p>
          <a:p>
            <a:pPr marL="511175" marR="0" lvl="2" indent="-2333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Third level</a:t>
            </a:r>
          </a:p>
          <a:p>
            <a:pPr marL="746125" marR="0" lvl="3" indent="-2317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Fourth level</a:t>
            </a:r>
          </a:p>
          <a:p>
            <a:pPr marL="944563" marR="0" lvl="4" indent="-2016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Text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00828" y="1137919"/>
            <a:ext cx="5387605" cy="4954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 lang="en-US" noProof="0"/>
            </a:lvl1pPr>
            <a:lvl2pPr marL="271463" marR="0" indent="-2714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/>
            </a:lvl2pPr>
            <a:lvl3pPr marL="511175" marR="0" indent="-2333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/>
            </a:lvl3pPr>
            <a:lvl4pPr marL="746125" marR="0" indent="-2317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 lang="en-US" noProof="0"/>
            </a:lvl4pPr>
            <a:lvl5pPr marL="944563" marR="0" indent="-2016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Click to edit Master text styles</a:t>
            </a:r>
          </a:p>
          <a:p>
            <a:pPr marL="271463" marR="0" lvl="1" indent="-2714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Second level</a:t>
            </a:r>
          </a:p>
          <a:p>
            <a:pPr marL="511175" marR="0" lvl="2" indent="-2333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Third level</a:t>
            </a:r>
          </a:p>
          <a:p>
            <a:pPr marL="746125" marR="0" lvl="3" indent="-2317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Fourth level</a:t>
            </a:r>
          </a:p>
          <a:p>
            <a:pPr marL="944563" marR="0" lvl="4" indent="-2016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Text</a:t>
            </a:r>
          </a:p>
        </p:txBody>
      </p:sp>
      <p:sp>
        <p:nvSpPr>
          <p:cNvPr id="10" name="Line 10">
            <a:extLst>
              <a:ext uri="{FF2B5EF4-FFF2-40B4-BE49-F238E27FC236}">
                <a16:creationId xmlns:a16="http://schemas.microsoft.com/office/drawing/2014/main" id="{9B070B28-7AAC-47E5-9EB5-96B8B8B88057}"/>
              </a:ext>
            </a:extLst>
          </p:cNvPr>
          <p:cNvSpPr>
            <a:spLocks noChangeShapeType="1"/>
          </p:cNvSpPr>
          <p:nvPr userDrawn="1"/>
        </p:nvSpPr>
        <p:spPr bwMode="auto">
          <a:xfrm flipV="1">
            <a:off x="609918" y="885080"/>
            <a:ext cx="5273233" cy="2267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20B9B26-E95B-4DC1-A613-4C0C0933C7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8B4BAF-3AE0-44AC-9C71-C47D9E4DFFEC}" type="datetime3">
              <a:rPr lang="en-US" noProof="0" smtClean="0"/>
              <a:t>19 September 2023</a:t>
            </a:fld>
            <a:endParaRPr lang="en-US" noProof="0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D7373D8-2AB5-4625-822C-B1F2B5CDC3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76E3B4B-D68B-4AFA-A20D-2ECE69120F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noProof="0" dirty="0"/>
              <a:t>Page </a:t>
            </a:r>
            <a:fld id="{F1BC30E3-FFE5-4B91-AA19-87A149EBB9E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91415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74" userDrawn="1">
          <p15:clr>
            <a:srgbClr val="FBAE40"/>
          </p15:clr>
        </p15:guide>
        <p15:guide id="2" pos="391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slideLayout" Target="../slideLayouts/slideLayout32.xml"/><Relationship Id="rId18" Type="http://schemas.openxmlformats.org/officeDocument/2006/relationships/slideLayout" Target="../slideLayouts/slideLayout37.x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17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1.xml"/><Relationship Id="rId16" Type="http://schemas.openxmlformats.org/officeDocument/2006/relationships/slideLayout" Target="../slideLayouts/slideLayout35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34.xml"/><Relationship Id="rId10" Type="http://schemas.openxmlformats.org/officeDocument/2006/relationships/slideLayout" Target="../slideLayouts/slideLayout29.xml"/><Relationship Id="rId19" Type="http://schemas.openxmlformats.org/officeDocument/2006/relationships/slideLayout" Target="../slideLayouts/slideLayout38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platzhalter 27"/>
          <p:cNvSpPr>
            <a:spLocks noGrp="1"/>
          </p:cNvSpPr>
          <p:nvPr>
            <p:ph type="body" idx="1"/>
          </p:nvPr>
        </p:nvSpPr>
        <p:spPr>
          <a:xfrm>
            <a:off x="608400" y="1137600"/>
            <a:ext cx="1098000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indent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marL="511175" lvl="2" indent="-233363"/>
            <a:r>
              <a:rPr lang="en-US" noProof="0" dirty="0"/>
              <a:t>Third level</a:t>
            </a:r>
          </a:p>
          <a:p>
            <a:pPr marL="746125" lvl="3" indent="-231775"/>
            <a:r>
              <a:rPr lang="en-US" noProof="0" dirty="0"/>
              <a:t>Fourth level</a:t>
            </a:r>
          </a:p>
          <a:p>
            <a:pPr marL="944563" lvl="4" indent="-201613">
              <a:buClr>
                <a:srgbClr val="FFE600"/>
              </a:buClr>
            </a:pPr>
            <a:r>
              <a:rPr lang="en-US" noProof="0" dirty="0"/>
              <a:t>Text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600772EA-C6B0-4F5D-AA59-01C0858EFAD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428928" y="6471244"/>
            <a:ext cx="1191258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4400" rtl="0" eaLnBrk="1" latinLnBrk="0" hangingPunct="1">
              <a:lnSpc>
                <a:spcPct val="100000"/>
              </a:lnSpc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fld id="{42CAA955-C688-4D17-A718-E12620276EB6}" type="datetime3">
              <a:rPr lang="en-US" noProof="0" smtClean="0"/>
              <a:t>19 September 2023</a:t>
            </a:fld>
            <a:endParaRPr lang="en-US" noProof="0" dirty="0"/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AC28FA70-87E4-49F4-AFDE-345AA28E0BE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39188" y="6471244"/>
            <a:ext cx="30861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4400" rtl="0" eaLnBrk="1" latinLnBrk="0" hangingPunct="1">
              <a:lnSpc>
                <a:spcPct val="100000"/>
              </a:lnSpc>
              <a:defRPr lang="en-IN" sz="800" kern="1200" dirty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US" noProof="0" dirty="0"/>
              <a:t>Presentation title</a:t>
            </a:r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3B540F9A-D485-4BD0-B905-41F8A52593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17221" y="6471244"/>
            <a:ext cx="663066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4400" rtl="0" eaLnBrk="1" latinLnBrk="0" hangingPunct="1">
              <a:lnSpc>
                <a:spcPct val="100000"/>
              </a:lnSpc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US" noProof="0" dirty="0"/>
              <a:t>Page </a:t>
            </a:r>
            <a:fld id="{F1BC30E3-FFE5-4B91-AA19-87A149EBB9E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ABA621AC-91DA-4716-A450-56540FA39C36}"/>
              </a:ext>
            </a:extLst>
          </p:cNvPr>
          <p:cNvGrpSpPr>
            <a:grpSpLocks noChangeAspect="1"/>
          </p:cNvGrpSpPr>
          <p:nvPr userDrawn="1"/>
        </p:nvGrpSpPr>
        <p:grpSpPr bwMode="invGray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76E3EDA9-8EAC-419E-8C11-4E1E158AF762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0000"/>
                </a:lnSpc>
              </a:pPr>
              <a:endParaRPr lang="en-US" noProof="0" dirty="0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ABC9458B-8C2C-486A-8ADE-F22CCDC7E2F8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0000"/>
                </a:lnSpc>
              </a:pPr>
              <a:endParaRPr lang="en-US" noProof="0" dirty="0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0A4C4046-69B4-41DA-AA2E-E892AEC9AA90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0000"/>
                </a:lnSpc>
              </a:pPr>
              <a:endParaRPr lang="en-US" noProof="0" dirty="0"/>
            </a:p>
          </p:txBody>
        </p:sp>
      </p:grpSp>
    </p:spTree>
    <p:extLst>
      <p:ext uri="{BB962C8B-B14F-4D97-AF65-F5344CB8AC3E}">
        <p14:creationId xmlns:p14="http://schemas.microsoft.com/office/powerpoint/2010/main" val="19197142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9" r:id="rId1"/>
    <p:sldLayoutId id="2147483871" r:id="rId2"/>
    <p:sldLayoutId id="2147483828" r:id="rId3"/>
    <p:sldLayoutId id="2147483873" r:id="rId4"/>
    <p:sldLayoutId id="2147483872" r:id="rId5"/>
    <p:sldLayoutId id="2147483921" r:id="rId6"/>
    <p:sldLayoutId id="2147483923" r:id="rId7"/>
    <p:sldLayoutId id="2147483834" r:id="rId8"/>
    <p:sldLayoutId id="2147483832" r:id="rId9"/>
    <p:sldLayoutId id="2147483833" r:id="rId10"/>
    <p:sldLayoutId id="2147484000" r:id="rId11"/>
    <p:sldLayoutId id="2147483840" r:id="rId12"/>
    <p:sldLayoutId id="2147484001" r:id="rId13"/>
    <p:sldLayoutId id="2147483874" r:id="rId14"/>
    <p:sldLayoutId id="2147483948" r:id="rId15"/>
    <p:sldLayoutId id="2147483979" r:id="rId16"/>
    <p:sldLayoutId id="2147483949" r:id="rId17"/>
    <p:sldLayoutId id="2147483947" r:id="rId18"/>
    <p:sldLayoutId id="2147483926" r:id="rId19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271463" marR="0" indent="-271463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FFE600"/>
        </a:buClr>
        <a:buSzPct val="70000"/>
        <a:buFont typeface="Arial" pitchFamily="34" charset="0"/>
        <a:buNone/>
        <a:tabLst/>
        <a:defRPr kumimoji="0" lang="de-DE" sz="2000" b="0" i="0" u="none" strike="noStrike" kern="1200" cap="none" spc="0" normalizeH="0" baseline="0" noProof="0" dirty="0" smtClean="0">
          <a:ln>
            <a:noFill/>
          </a:ln>
          <a:solidFill>
            <a:schemeClr val="bg1"/>
          </a:solidFill>
          <a:effectLst/>
          <a:uLnTx/>
          <a:uFillTx/>
          <a:latin typeface="EYInterstate Light" panose="02000506000000020004" pitchFamily="2" charset="0"/>
          <a:ea typeface="+mn-ea"/>
          <a:cs typeface="+mn-cs"/>
        </a:defRPr>
      </a:lvl1pPr>
      <a:lvl2pPr marL="271463" marR="0" indent="-271463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FFE600"/>
        </a:buClr>
        <a:buSzPct val="70000"/>
        <a:buFont typeface="Arial" pitchFamily="34" charset="0"/>
        <a:buChar char="►"/>
        <a:tabLst/>
        <a:defRPr kumimoji="0" lang="de-DE" sz="2000" b="0" i="0" u="none" strike="noStrike" kern="1200" cap="none" spc="0" normalizeH="0" baseline="0" noProof="0" dirty="0" smtClean="0">
          <a:ln>
            <a:noFill/>
          </a:ln>
          <a:solidFill>
            <a:schemeClr val="bg1"/>
          </a:solidFill>
          <a:effectLst/>
          <a:uLnTx/>
          <a:uFillTx/>
          <a:latin typeface="EYInterstate Light" panose="02000506000000020004" pitchFamily="2" charset="0"/>
          <a:ea typeface="+mn-ea"/>
          <a:cs typeface="+mn-cs"/>
        </a:defRPr>
      </a:lvl2pPr>
      <a:lvl3pPr marL="563562" marR="0" indent="-28575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FFE600"/>
        </a:buClr>
        <a:buSzPct val="70000"/>
        <a:buFont typeface="Arial" pitchFamily="34" charset="0"/>
        <a:buChar char="►"/>
        <a:tabLst/>
        <a:defRPr kumimoji="0" lang="de-DE" sz="1800" b="0" i="0" u="none" strike="noStrike" kern="1200" cap="none" spc="0" normalizeH="0" baseline="0" noProof="0" dirty="0" smtClean="0">
          <a:ln>
            <a:noFill/>
          </a:ln>
          <a:solidFill>
            <a:schemeClr val="bg1"/>
          </a:solidFill>
          <a:effectLst/>
          <a:uLnTx/>
          <a:uFillTx/>
          <a:latin typeface="EYInterstate Light" panose="02000506000000020004" pitchFamily="2" charset="0"/>
          <a:ea typeface="+mn-ea"/>
          <a:cs typeface="+mn-cs"/>
        </a:defRPr>
      </a:lvl3pPr>
      <a:lvl4pPr marL="800100" marR="0" indent="-28575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FFE600"/>
        </a:buClr>
        <a:buSzPct val="70000"/>
        <a:buFont typeface="Arial" pitchFamily="34" charset="0"/>
        <a:buChar char="►"/>
        <a:tabLst/>
        <a:defRPr kumimoji="0" lang="de-DE" sz="1600" b="0" i="0" u="none" strike="noStrike" kern="1200" cap="none" spc="0" normalizeH="0" baseline="0" noProof="0" dirty="0" smtClean="0">
          <a:ln>
            <a:noFill/>
          </a:ln>
          <a:solidFill>
            <a:schemeClr val="bg1"/>
          </a:solidFill>
          <a:effectLst/>
          <a:uLnTx/>
          <a:uFillTx/>
          <a:latin typeface="EYInterstate Light" panose="02000506000000020004" pitchFamily="2" charset="0"/>
          <a:ea typeface="+mn-ea"/>
          <a:cs typeface="+mn-cs"/>
        </a:defRPr>
      </a:lvl4pPr>
      <a:lvl5pPr marL="944563" indent="-20161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FFE600"/>
        </a:buClr>
        <a:buSzPct val="70000"/>
        <a:buFont typeface="Arial" pitchFamily="34" charset="0"/>
        <a:buChar char="►"/>
        <a:tabLst/>
        <a:defRPr kumimoji="0" lang="de-DE" sz="1400" b="0" i="0" u="none" strike="noStrike" kern="1200" cap="none" spc="0" normalizeH="0" baseline="0" noProof="0" dirty="0">
          <a:ln>
            <a:noFill/>
          </a:ln>
          <a:solidFill>
            <a:schemeClr val="bg1"/>
          </a:solidFill>
          <a:effectLst/>
          <a:uLnTx/>
          <a:uFillTx/>
          <a:latin typeface="EYInterstate Light" panose="02000506000000020004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384" userDrawn="1">
          <p15:clr>
            <a:srgbClr val="F26B43"/>
          </p15:clr>
        </p15:guide>
        <p15:guide id="4" pos="7301" userDrawn="1">
          <p15:clr>
            <a:srgbClr val="F26B43"/>
          </p15:clr>
        </p15:guide>
        <p15:guide id="5" orient="horz" pos="187" userDrawn="1">
          <p15:clr>
            <a:srgbClr val="F26B43"/>
          </p15:clr>
        </p15:guide>
        <p15:guide id="6" orient="horz" pos="709" userDrawn="1">
          <p15:clr>
            <a:srgbClr val="F26B43"/>
          </p15:clr>
        </p15:guide>
        <p15:guide id="7" orient="horz" pos="3838" userDrawn="1">
          <p15:clr>
            <a:srgbClr val="F26B43"/>
          </p15:clr>
        </p15:guide>
        <p15:guide id="8" orient="horz" pos="4156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608400" y="1137600"/>
            <a:ext cx="10981938" cy="4946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Click to edit Master text styles</a:t>
            </a:r>
          </a:p>
          <a:p>
            <a:pPr marL="271463" marR="0" lvl="1" indent="-2714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Second level</a:t>
            </a:r>
          </a:p>
          <a:p>
            <a:pPr marL="511175" marR="0" lvl="2" indent="-2333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Third level</a:t>
            </a:r>
          </a:p>
          <a:p>
            <a:pPr marL="746125" marR="0" lvl="3" indent="-2317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Fourth level</a:t>
            </a:r>
          </a:p>
          <a:p>
            <a:pPr marL="944563" marR="0" lvl="4" indent="-2016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rPr>
              <a:t>Text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7E89FB01-0304-4B7A-83F4-087FD710583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4DE1CE93-8A80-4A24-92CA-71C05E4537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0000"/>
                </a:lnSpc>
              </a:pPr>
              <a:endParaRPr lang="en-US" noProof="0" dirty="0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769AC85D-6BA0-4E5B-A206-FB7E85E0DD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0000"/>
                </a:lnSpc>
              </a:pPr>
              <a:endParaRPr lang="en-US" noProof="0" dirty="0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5A99D1FF-A731-4C56-AEC5-4C61FAC748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0000"/>
                </a:lnSpc>
              </a:pPr>
              <a:endParaRPr lang="en-US" noProof="0" dirty="0"/>
            </a:p>
          </p:txBody>
        </p:sp>
      </p:grpSp>
      <p:sp>
        <p:nvSpPr>
          <p:cNvPr id="20" name="Date Placeholder 3">
            <a:extLst>
              <a:ext uri="{FF2B5EF4-FFF2-40B4-BE49-F238E27FC236}">
                <a16:creationId xmlns:a16="http://schemas.microsoft.com/office/drawing/2014/main" id="{7FA7D49F-D989-4CDB-9335-913430F7425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428928" y="6471244"/>
            <a:ext cx="1191258" cy="180000"/>
          </a:xfrm>
          <a:prstGeom prst="rect">
            <a:avLst/>
          </a:prstGeom>
        </p:spPr>
        <p:txBody>
          <a:bodyPr lIns="0" tIns="0" rIns="0" bIns="0" anchor="ctr"/>
          <a:lstStyle>
            <a:lvl1pPr marL="0" algn="l" defTabSz="914400" rtl="0" eaLnBrk="1" latinLnBrk="0" hangingPunct="1">
              <a:lnSpc>
                <a:spcPct val="100000"/>
              </a:lnSpc>
              <a:defRPr lang="en-US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fld id="{FF689614-5369-440F-8EAB-15876908D66D}" type="datetime3">
              <a:rPr lang="en-US" noProof="0" smtClean="0"/>
              <a:t>19 September 2023</a:t>
            </a:fld>
            <a:endParaRPr lang="en-US" noProof="0" dirty="0"/>
          </a:p>
        </p:txBody>
      </p:sp>
      <p:sp>
        <p:nvSpPr>
          <p:cNvPr id="21" name="Footer Placeholder 4">
            <a:extLst>
              <a:ext uri="{FF2B5EF4-FFF2-40B4-BE49-F238E27FC236}">
                <a16:creationId xmlns:a16="http://schemas.microsoft.com/office/drawing/2014/main" id="{26944631-E8AF-4601-B721-3347E3AFB2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39188" y="6471244"/>
            <a:ext cx="3086100" cy="180000"/>
          </a:xfrm>
          <a:prstGeom prst="rect">
            <a:avLst/>
          </a:prstGeom>
        </p:spPr>
        <p:txBody>
          <a:bodyPr lIns="0" tIns="0" rIns="0" bIns="0" anchor="ctr"/>
          <a:lstStyle>
            <a:lvl1pPr marL="0" algn="l" defTabSz="914400" rtl="0" eaLnBrk="1" latinLnBrk="0" hangingPunct="1">
              <a:lnSpc>
                <a:spcPct val="100000"/>
              </a:lnSpc>
              <a:defRPr lang="en-US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US" noProof="0" dirty="0"/>
              <a:t>Presentation title</a:t>
            </a:r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1E733AAD-1BCD-417D-A2A4-521F133E28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17221" y="6471244"/>
            <a:ext cx="663066" cy="180000"/>
          </a:xfrm>
          <a:prstGeom prst="rect">
            <a:avLst/>
          </a:prstGeom>
        </p:spPr>
        <p:txBody>
          <a:bodyPr lIns="0" tIns="0" rIns="0" bIns="0" anchor="ctr"/>
          <a:lstStyle>
            <a:lvl1pPr marL="0" algn="l" defTabSz="914400" rtl="0" eaLnBrk="1" latinLnBrk="0" hangingPunct="1">
              <a:lnSpc>
                <a:spcPct val="100000"/>
              </a:lnSpc>
              <a:defRPr lang="en-GB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US" noProof="0" dirty="0"/>
              <a:t>Page </a:t>
            </a:r>
            <a:fld id="{F1BC30E3-FFE5-4B91-AA19-87A149EBB9E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9450100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1" r:id="rId1"/>
    <p:sldLayoutId id="2147483981" r:id="rId2"/>
    <p:sldLayoutId id="2147483982" r:id="rId3"/>
    <p:sldLayoutId id="2147483983" r:id="rId4"/>
    <p:sldLayoutId id="2147483984" r:id="rId5"/>
    <p:sldLayoutId id="2147483985" r:id="rId6"/>
    <p:sldLayoutId id="2147483986" r:id="rId7"/>
    <p:sldLayoutId id="2147483987" r:id="rId8"/>
    <p:sldLayoutId id="2147483988" r:id="rId9"/>
    <p:sldLayoutId id="2147483989" r:id="rId10"/>
    <p:sldLayoutId id="2147483990" r:id="rId11"/>
    <p:sldLayoutId id="2147484005" r:id="rId12"/>
    <p:sldLayoutId id="2147483992" r:id="rId13"/>
    <p:sldLayoutId id="2147483993" r:id="rId14"/>
    <p:sldLayoutId id="2147483994" r:id="rId15"/>
    <p:sldLayoutId id="2147483995" r:id="rId16"/>
    <p:sldLayoutId id="2147483996" r:id="rId17"/>
    <p:sldLayoutId id="2147483997" r:id="rId18"/>
    <p:sldLayoutId id="2147483998" r:id="rId19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FFE600"/>
        </a:buClr>
        <a:buSzPct val="70000"/>
        <a:buFont typeface="Arial" pitchFamily="34" charset="0"/>
        <a:buNone/>
        <a:tabLst/>
        <a:defRPr kumimoji="0" lang="de-DE" sz="2000" b="0" i="0" u="none" strike="noStrike" kern="1200" cap="none" spc="0" normalizeH="0" baseline="0">
          <a:ln>
            <a:noFill/>
          </a:ln>
          <a:solidFill>
            <a:schemeClr val="bg1"/>
          </a:solidFill>
          <a:effectLst/>
          <a:uLnTx/>
          <a:uFillTx/>
          <a:latin typeface="EYInterstate Light" panose="02000506000000020004" pitchFamily="2" charset="0"/>
          <a:ea typeface="+mn-ea"/>
          <a:cs typeface="+mn-cs"/>
        </a:defRPr>
      </a:lvl1pPr>
      <a:lvl2pPr marL="271463" marR="0" indent="-271463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FFE600"/>
        </a:buClr>
        <a:buSzPct val="70000"/>
        <a:buFont typeface="Arial" pitchFamily="34" charset="0"/>
        <a:buChar char="►"/>
        <a:tabLst/>
        <a:defRPr kumimoji="0" lang="de-DE" sz="2000" b="0" i="0" u="none" strike="noStrike" kern="1200" cap="none" spc="0" normalizeH="0" baseline="0">
          <a:ln>
            <a:noFill/>
          </a:ln>
          <a:solidFill>
            <a:schemeClr val="bg1"/>
          </a:solidFill>
          <a:effectLst/>
          <a:uLnTx/>
          <a:uFillTx/>
          <a:latin typeface="EYInterstate Light" panose="02000506000000020004" pitchFamily="2" charset="0"/>
          <a:ea typeface="+mn-ea"/>
          <a:cs typeface="+mn-cs"/>
        </a:defRPr>
      </a:lvl2pPr>
      <a:lvl3pPr marL="511175" marR="0" indent="-233363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FFE600"/>
        </a:buClr>
        <a:buSzPct val="70000"/>
        <a:buFont typeface="Arial" pitchFamily="34" charset="0"/>
        <a:buChar char="►"/>
        <a:tabLst/>
        <a:defRPr kumimoji="0" lang="de-DE" sz="1800" b="0" i="0" u="none" strike="noStrike" kern="1200" cap="none" spc="0" normalizeH="0" baseline="0">
          <a:ln>
            <a:noFill/>
          </a:ln>
          <a:solidFill>
            <a:schemeClr val="bg1"/>
          </a:solidFill>
          <a:effectLst/>
          <a:uLnTx/>
          <a:uFillTx/>
          <a:latin typeface="EYInterstate Light" panose="02000506000000020004" pitchFamily="2" charset="0"/>
          <a:ea typeface="+mn-ea"/>
          <a:cs typeface="+mn-cs"/>
        </a:defRPr>
      </a:lvl3pPr>
      <a:lvl4pPr marL="746125" marR="0" indent="-231775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FFE600"/>
        </a:buClr>
        <a:buSzPct val="70000"/>
        <a:buFont typeface="Arial" pitchFamily="34" charset="0"/>
        <a:buChar char="►"/>
        <a:tabLst/>
        <a:defRPr kumimoji="0" lang="de-DE" sz="1600" b="0" i="0" u="none" strike="noStrike" kern="1200" cap="none" spc="0" normalizeH="0" baseline="0">
          <a:ln>
            <a:noFill/>
          </a:ln>
          <a:solidFill>
            <a:schemeClr val="bg1"/>
          </a:solidFill>
          <a:effectLst/>
          <a:uLnTx/>
          <a:uFillTx/>
          <a:latin typeface="EYInterstate Light" panose="02000506000000020004" pitchFamily="2" charset="0"/>
          <a:ea typeface="+mn-ea"/>
          <a:cs typeface="+mn-cs"/>
        </a:defRPr>
      </a:lvl4pPr>
      <a:lvl5pPr marL="944563" marR="0" indent="-201613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FFE600"/>
        </a:buClr>
        <a:buSzPct val="70000"/>
        <a:buFont typeface="Arial" pitchFamily="34" charset="0"/>
        <a:buChar char="►"/>
        <a:tabLst/>
        <a:defRPr kumimoji="0" lang="de-DE" sz="1400" b="0" i="0" u="none" strike="noStrike" kern="1200" cap="none" spc="0" normalizeH="0" baseline="0">
          <a:ln>
            <a:noFill/>
          </a:ln>
          <a:solidFill>
            <a:schemeClr val="bg1"/>
          </a:solidFill>
          <a:effectLst/>
          <a:uLnTx/>
          <a:uFillTx/>
          <a:latin typeface="EYInterstate Light" panose="02000506000000020004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" pos="7301" userDrawn="1">
          <p15:clr>
            <a:srgbClr val="F26B43"/>
          </p15:clr>
        </p15:guide>
        <p15:guide id="5" pos="384" userDrawn="1">
          <p15:clr>
            <a:srgbClr val="F26B43"/>
          </p15:clr>
        </p15:guide>
        <p15:guide id="6" orient="horz" pos="187" userDrawn="1">
          <p15:clr>
            <a:srgbClr val="F26B43"/>
          </p15:clr>
        </p15:guide>
        <p15:guide id="7" orient="horz" pos="709" userDrawn="1">
          <p15:clr>
            <a:srgbClr val="F26B43"/>
          </p15:clr>
        </p15:guide>
        <p15:guide id="8" orient="horz" pos="3838" userDrawn="1">
          <p15:clr>
            <a:srgbClr val="F26B43"/>
          </p15:clr>
        </p15:guide>
        <p15:guide id="9" orient="horz" pos="415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6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626568" y="294200"/>
            <a:ext cx="5616624" cy="590880"/>
          </a:xfrm>
        </p:spPr>
        <p:txBody>
          <a:bodyPr/>
          <a:lstStyle/>
          <a:p>
            <a:r>
              <a:rPr lang="en-US" sz="3400" kern="100" spc="-20" dirty="0">
                <a:solidFill>
                  <a:srgbClr val="FFFFFF"/>
                </a:solidFill>
                <a:latin typeface="+mj-lt"/>
              </a:rPr>
              <a:t>Career </a:t>
            </a:r>
            <a:r>
              <a:rPr lang="en-US" sz="3400" kern="100" spc="-20" dirty="0" err="1">
                <a:solidFill>
                  <a:srgbClr val="FFFFFF"/>
                </a:solidFill>
                <a:latin typeface="+mj-lt"/>
              </a:rPr>
              <a:t>Ahoi</a:t>
            </a:r>
            <a:r>
              <a:rPr lang="en-US" sz="3400" kern="100" spc="-20" dirty="0">
                <a:solidFill>
                  <a:srgbClr val="FFFFFF"/>
                </a:solidFill>
                <a:latin typeface="+mj-lt"/>
              </a:rPr>
              <a:t> @ EY</a:t>
            </a:r>
            <a:endParaRPr lang="de-DE" sz="34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D477DEE-A89C-4AE2-8E4C-B23FF28BF871}"/>
              </a:ext>
            </a:extLst>
          </p:cNvPr>
          <p:cNvSpPr/>
          <p:nvPr/>
        </p:nvSpPr>
        <p:spPr>
          <a:xfrm>
            <a:off x="552063" y="1124744"/>
            <a:ext cx="5331088" cy="48197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600" kern="0" dirty="0">
                <a:solidFill>
                  <a:schemeClr val="bg1"/>
                </a:solidFill>
              </a:rPr>
              <a:t>Du bist im Bachelor- oder Masterstudium und interessierst dich für die vielfältigen Bereiche in der Assurance? Dann bist du bei Career Ahoi genau richtig. Auf einem </a:t>
            </a:r>
            <a:r>
              <a:rPr lang="de-DE" sz="1600" b="1" u="sng" kern="0" dirty="0">
                <a:solidFill>
                  <a:schemeClr val="bg1"/>
                </a:solidFill>
              </a:rPr>
              <a:t>Hausboot</a:t>
            </a:r>
            <a:r>
              <a:rPr lang="de-DE" sz="1600" kern="0" dirty="0">
                <a:solidFill>
                  <a:schemeClr val="bg1"/>
                </a:solidFill>
              </a:rPr>
              <a:t> in </a:t>
            </a:r>
            <a:r>
              <a:rPr lang="de-DE" sz="1600" b="1" u="sng" kern="0" dirty="0">
                <a:solidFill>
                  <a:schemeClr val="bg1"/>
                </a:solidFill>
              </a:rPr>
              <a:t>Düsseldorf</a:t>
            </a:r>
            <a:r>
              <a:rPr lang="de-DE" sz="1600" kern="0" dirty="0">
                <a:solidFill>
                  <a:schemeClr val="bg1"/>
                </a:solidFill>
              </a:rPr>
              <a:t> erhältst du nicht nur spannende </a:t>
            </a:r>
            <a:r>
              <a:rPr lang="de-DE" sz="1600" kern="0" dirty="0" err="1">
                <a:solidFill>
                  <a:schemeClr val="bg1"/>
                </a:solidFill>
              </a:rPr>
              <a:t>Insights</a:t>
            </a:r>
            <a:r>
              <a:rPr lang="de-DE" sz="1600" kern="0" dirty="0">
                <a:solidFill>
                  <a:schemeClr val="bg1"/>
                </a:solidFill>
              </a:rPr>
              <a:t>, sondern kannst auch in entspannter Atmosphäre dein Netzwerk erweitern! </a:t>
            </a:r>
          </a:p>
          <a:p>
            <a:endParaRPr lang="de-DE" sz="1600" u="sng" kern="0" dirty="0">
              <a:solidFill>
                <a:schemeClr val="bg1"/>
              </a:solidFill>
            </a:endParaRPr>
          </a:p>
          <a:p>
            <a:pPr marL="219075" indent="-219075" defTabSz="685434">
              <a:spcBef>
                <a:spcPct val="20000"/>
              </a:spcBef>
              <a:buClr>
                <a:srgbClr val="FFE600"/>
              </a:buClr>
              <a:buSzPct val="80000"/>
              <a:buFont typeface="Arial" pitchFamily="34" charset="0"/>
              <a:buChar char="►"/>
            </a:pPr>
            <a:r>
              <a:rPr lang="de-DE" sz="1600" kern="0" dirty="0">
                <a:solidFill>
                  <a:schemeClr val="bg1"/>
                </a:solidFill>
              </a:rPr>
              <a:t>Zeitraum: 09.-10. November 2023</a:t>
            </a:r>
          </a:p>
          <a:p>
            <a:pPr marL="219075" indent="-219075" defTabSz="685434">
              <a:spcBef>
                <a:spcPct val="20000"/>
              </a:spcBef>
              <a:buClr>
                <a:srgbClr val="FFE600"/>
              </a:buClr>
              <a:buSzPct val="80000"/>
              <a:buFont typeface="Arial" pitchFamily="34" charset="0"/>
              <a:buChar char="►"/>
            </a:pPr>
            <a:r>
              <a:rPr lang="de-DE" sz="1600" kern="0">
                <a:solidFill>
                  <a:schemeClr val="bg1"/>
                </a:solidFill>
              </a:rPr>
              <a:t>Erfahre, </a:t>
            </a:r>
            <a:r>
              <a:rPr lang="de-DE" sz="1600" kern="0" dirty="0">
                <a:solidFill>
                  <a:schemeClr val="bg1"/>
                </a:solidFill>
              </a:rPr>
              <a:t>was wir unter Assurance verstehen und was alles dazu gehört.</a:t>
            </a:r>
          </a:p>
          <a:p>
            <a:pPr marL="219075" indent="-219075" defTabSz="685434">
              <a:spcBef>
                <a:spcPct val="20000"/>
              </a:spcBef>
              <a:buClr>
                <a:srgbClr val="FFE600"/>
              </a:buClr>
              <a:buSzPct val="80000"/>
              <a:buFont typeface="Arial" pitchFamily="34" charset="0"/>
              <a:buChar char="►"/>
            </a:pPr>
            <a:r>
              <a:rPr lang="de-DE" sz="1600" kern="0" dirty="0">
                <a:solidFill>
                  <a:schemeClr val="bg1"/>
                </a:solidFill>
              </a:rPr>
              <a:t>Schwerpunkte: Wirtschaftsprüfung, Accounting-Beratung, Climate Change and </a:t>
            </a:r>
            <a:r>
              <a:rPr lang="de-DE" sz="1600" kern="0" dirty="0" err="1">
                <a:solidFill>
                  <a:schemeClr val="bg1"/>
                </a:solidFill>
              </a:rPr>
              <a:t>Sustainability</a:t>
            </a:r>
            <a:r>
              <a:rPr lang="de-DE" sz="1600" kern="0" dirty="0">
                <a:solidFill>
                  <a:schemeClr val="bg1"/>
                </a:solidFill>
              </a:rPr>
              <a:t> Services, </a:t>
            </a:r>
            <a:r>
              <a:rPr lang="de-DE" sz="1600" kern="0" dirty="0" err="1">
                <a:solidFill>
                  <a:schemeClr val="bg1"/>
                </a:solidFill>
              </a:rPr>
              <a:t>Forensic</a:t>
            </a:r>
            <a:r>
              <a:rPr lang="de-DE" sz="1600" kern="0" dirty="0">
                <a:solidFill>
                  <a:schemeClr val="bg1"/>
                </a:solidFill>
              </a:rPr>
              <a:t> and Integrity Services sowie die Financial Services</a:t>
            </a:r>
          </a:p>
          <a:p>
            <a:pPr defTabSz="685434">
              <a:spcBef>
                <a:spcPct val="20000"/>
              </a:spcBef>
              <a:buClr>
                <a:srgbClr val="FFE600"/>
              </a:buClr>
              <a:buSzPct val="80000"/>
            </a:pPr>
            <a:endParaRPr lang="de-DE" sz="1600" kern="0" dirty="0">
              <a:solidFill>
                <a:schemeClr val="bg1"/>
              </a:solidFill>
            </a:endParaRPr>
          </a:p>
          <a:p>
            <a:pPr defTabSz="685434">
              <a:spcBef>
                <a:spcPct val="20000"/>
              </a:spcBef>
              <a:buClr>
                <a:srgbClr val="FFE600"/>
              </a:buClr>
              <a:buSzPct val="80000"/>
            </a:pPr>
            <a:r>
              <a:rPr lang="de-DE" sz="1600" kern="0" dirty="0">
                <a:solidFill>
                  <a:schemeClr val="bg1"/>
                </a:solidFill>
              </a:rPr>
              <a:t>Bewirb dich </a:t>
            </a:r>
            <a:r>
              <a:rPr lang="de-DE" sz="1600" u="sng" kern="0" dirty="0">
                <a:solidFill>
                  <a:schemeClr val="bg1"/>
                </a:solidFill>
              </a:rPr>
              <a:t>bis zum 26.10.</a:t>
            </a:r>
            <a:r>
              <a:rPr lang="de-DE" sz="1600" kern="0" dirty="0">
                <a:solidFill>
                  <a:schemeClr val="bg1"/>
                </a:solidFill>
              </a:rPr>
              <a:t>, um dabei zu sein: www.de.ey.com/karriere/careerahoi</a:t>
            </a:r>
            <a:endParaRPr lang="de-DE" sz="1600" dirty="0"/>
          </a:p>
          <a:p>
            <a:pPr defTabSz="685434">
              <a:spcBef>
                <a:spcPct val="20000"/>
              </a:spcBef>
              <a:buClr>
                <a:srgbClr val="FFE600"/>
              </a:buClr>
              <a:buSzPct val="80000"/>
            </a:pPr>
            <a:r>
              <a:rPr lang="de-DE" sz="1600" dirty="0"/>
              <a:t>– Training und Event für EY - Deutschland</a:t>
            </a:r>
            <a:endParaRPr lang="de-DE" sz="1600" kern="0" dirty="0">
              <a:solidFill>
                <a:schemeClr val="bg1"/>
              </a:solidFill>
              <a:latin typeface="EYInterstate Light" panose="02000506000000020004" pitchFamily="2" charset="0"/>
            </a:endParaRPr>
          </a:p>
        </p:txBody>
      </p:sp>
      <p:grpSp>
        <p:nvGrpSpPr>
          <p:cNvPr id="7" name="Group 4">
            <a:extLst>
              <a:ext uri="{FF2B5EF4-FFF2-40B4-BE49-F238E27FC236}">
                <a16:creationId xmlns:a16="http://schemas.microsoft.com/office/drawing/2014/main" id="{B59CAC21-EA4F-40F2-9442-7C8570030482}"/>
              </a:ext>
            </a:extLst>
          </p:cNvPr>
          <p:cNvGrpSpPr>
            <a:grpSpLocks noChangeAspect="1"/>
          </p:cNvGrpSpPr>
          <p:nvPr/>
        </p:nvGrpSpPr>
        <p:grpSpPr bwMode="invGray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D1D9F270-C451-4E5A-9F6B-12D0D36CF19C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0000"/>
                </a:lnSpc>
              </a:pPr>
              <a:endParaRPr lang="en-US" noProof="0" dirty="0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3EDFC7CA-4FB4-4519-A5AB-B9D24052ED6A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0000"/>
                </a:lnSpc>
              </a:pPr>
              <a:endParaRPr lang="en-US" noProof="0" dirty="0"/>
            </a:p>
          </p:txBody>
        </p:sp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id="{365E14B6-C7A0-4145-832C-2701DC951585}"/>
                </a:ext>
              </a:extLst>
            </p:cNvPr>
            <p:cNvSpPr>
              <a:spLocks/>
            </p:cNvSpPr>
            <p:nvPr userDrawn="1"/>
          </p:nvSpPr>
          <p:spPr bwMode="invGray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00000"/>
                </a:lnSpc>
              </a:pPr>
              <a:endParaRPr lang="en-US" noProof="0" dirty="0"/>
            </a:p>
          </p:txBody>
        </p:sp>
      </p:grpSp>
      <p:pic>
        <p:nvPicPr>
          <p:cNvPr id="4" name="Grafik 3">
            <a:extLst>
              <a:ext uri="{FF2B5EF4-FFF2-40B4-BE49-F238E27FC236}">
                <a16:creationId xmlns:a16="http://schemas.microsoft.com/office/drawing/2014/main" id="{7A2036E9-FFDA-1DE9-0EF0-E6837A958BE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9015" y="5627632"/>
            <a:ext cx="855558" cy="855558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090D7004-C3B6-227F-D5E4-C744E808C215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701" r="17101"/>
          <a:stretch/>
        </p:blipFill>
        <p:spPr>
          <a:xfrm>
            <a:off x="6003913" y="0"/>
            <a:ext cx="619268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65786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cEcnfNSouTSeX4MLDxh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yQPOVuRPO_35GPVkMP5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5fs8RPhQxecPYVHRzD3J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.iNm8YnSbG6XrVrL4Ens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yCt5VRQkSqUyfQ1gK4yg"/>
</p:tagLst>
</file>

<file path=ppt/theme/theme1.xml><?xml version="1.0" encoding="utf-8"?>
<a:theme xmlns:a="http://schemas.openxmlformats.org/drawingml/2006/main" name="EY dark background">
  <a:themeElements>
    <a:clrScheme name="Benutzerdefiniert 8">
      <a:dk1>
        <a:srgbClr val="2E2E38"/>
      </a:dk1>
      <a:lt1>
        <a:sysClr val="window" lastClr="FFFFFF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FFE600"/>
      </a:hlink>
      <a:folHlink>
        <a:srgbClr val="FFE600"/>
      </a:folHlink>
    </a:clrScheme>
    <a:fontScheme name="GSA_Pursuits">
      <a:majorFont>
        <a:latin typeface="EYInterstate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D2D2DA"/>
        </a:solidFill>
        <a:ln w="12700" cap="sq" cmpd="sng" algn="ctr">
          <a:noFill/>
          <a:prstDash val="solid"/>
          <a:miter lim="800000"/>
          <a:tailEnd type="none"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144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smtClean="0">
            <a:ln>
              <a:noFill/>
            </a:ln>
            <a:solidFill>
              <a:srgbClr val="2E2E38"/>
            </a:solidFill>
            <a:effectLst/>
            <a:uLnTx/>
            <a:uFillTx/>
          </a:defRPr>
        </a:defPPr>
      </a:lstStyle>
    </a:spDef>
    <a:lnDef>
      <a:spPr>
        <a:noFill/>
        <a:ln w="12700" cap="sq" cmpd="sng" algn="ctr">
          <a:solidFill>
            <a:srgbClr val="D2D2DA"/>
          </a:solidFill>
          <a:prstDash val="solid"/>
          <a:miter lim="800000"/>
          <a:tailEnd type="none"/>
        </a:ln>
        <a:effectLst/>
      </a:spPr>
      <a:bodyPr/>
      <a:lstStyle/>
    </a:lnDef>
    <a:txDef>
      <a:spPr>
        <a:noFill/>
        <a:ln w="12700" cap="sq">
          <a:noFill/>
          <a:miter lim="800000"/>
        </a:ln>
      </a:spPr>
      <a:bodyPr wrap="square" lIns="61200" tIns="36576" rIns="0" bIns="0" rtlCol="0">
        <a:noAutofit/>
      </a:bodyPr>
      <a:lstStyle>
        <a:defPPr marL="219075" marR="0" indent="-219075" defTabSz="685434" eaLnBrk="1" fontAlgn="auto" latinLnBrk="0" hangingPunct="1">
          <a:lnSpc>
            <a:spcPct val="100000"/>
          </a:lnSpc>
          <a:spcBef>
            <a:spcPct val="20000"/>
          </a:spcBef>
          <a:spcAft>
            <a:spcPts val="0"/>
          </a:spcAft>
          <a:buClr>
            <a:srgbClr val="FFE600"/>
          </a:buClr>
          <a:buSzPct val="80000"/>
          <a:buFont typeface="Arial" pitchFamily="34" charset="0"/>
          <a:buChar char="►"/>
          <a:tabLst/>
          <a:defRPr kumimoji="0" sz="1400" b="0" i="0" u="none" strike="noStrike" kern="0" cap="none" spc="0" normalizeH="0" baseline="0" noProof="0" dirty="0" smtClean="0">
            <a:ln>
              <a:noFill/>
            </a:ln>
            <a:solidFill>
              <a:schemeClr val="bg1"/>
            </a:solidFill>
            <a:effectLst/>
            <a:uLnTx/>
            <a:uFillTx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EY_DE_presentation_16x9_2019.pptx" id="{498DFC7E-2F02-4EC1-809D-1FC35964144A}" vid="{61C89142-1D04-4713-9D4A-29A35BAFA165}"/>
    </a:ext>
  </a:extLst>
</a:theme>
</file>

<file path=ppt/theme/theme2.xml><?xml version="1.0" encoding="utf-8"?>
<a:theme xmlns:a="http://schemas.openxmlformats.org/drawingml/2006/main" name="EY light background">
  <a:themeElements>
    <a:clrScheme name="Custom 8">
      <a:dk1>
        <a:srgbClr val="FFFFFF"/>
      </a:dk1>
      <a:lt1>
        <a:srgbClr val="2E2E38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D2D2DA"/>
        </a:solidFill>
        <a:ln w="12700" cap="sq" cmpd="sng" algn="ctr">
          <a:noFill/>
          <a:prstDash val="solid"/>
          <a:miter lim="800000"/>
          <a:tailEnd type="none"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144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smtClean="0">
            <a:ln>
              <a:noFill/>
            </a:ln>
            <a:solidFill>
              <a:srgbClr val="2E2E38"/>
            </a:solidFill>
            <a:effectLst/>
            <a:uLnTx/>
            <a:uFillTx/>
          </a:defRPr>
        </a:defPPr>
      </a:lstStyle>
    </a:spDef>
    <a:lnDef>
      <a:spPr>
        <a:noFill/>
        <a:ln w="12700" cap="sq" cmpd="sng" algn="ctr">
          <a:solidFill>
            <a:srgbClr val="D2D2DA"/>
          </a:solidFill>
          <a:prstDash val="solid"/>
          <a:miter lim="800000"/>
          <a:tailEnd type="none"/>
        </a:ln>
        <a:effectLst/>
      </a:spPr>
      <a:bodyPr/>
      <a:lstStyle/>
    </a:lnDef>
    <a:txDef>
      <a:spPr>
        <a:noFill/>
        <a:ln w="12700" cap="sq">
          <a:noFill/>
          <a:miter lim="800000"/>
        </a:ln>
      </a:spPr>
      <a:bodyPr wrap="square" lIns="61200" tIns="36576" rIns="0" bIns="0" rtlCol="0">
        <a:noAutofit/>
      </a:bodyPr>
      <a:lstStyle>
        <a:defPPr marL="219075" marR="0" indent="-219075" defTabSz="685434" eaLnBrk="1" fontAlgn="auto" latinLnBrk="0" hangingPunct="1">
          <a:lnSpc>
            <a:spcPct val="100000"/>
          </a:lnSpc>
          <a:spcBef>
            <a:spcPct val="20000"/>
          </a:spcBef>
          <a:spcAft>
            <a:spcPts val="0"/>
          </a:spcAft>
          <a:buClr>
            <a:srgbClr val="FFE600"/>
          </a:buClr>
          <a:buSzPct val="80000"/>
          <a:buFont typeface="Arial" pitchFamily="34" charset="0"/>
          <a:buChar char="►"/>
          <a:tabLst/>
          <a:defRPr kumimoji="0" sz="1400" b="0" i="0" u="none" strike="noStrike" kern="0" cap="none" spc="0" normalizeH="0" baseline="0" noProof="0" dirty="0" err="1" smtClean="0">
            <a:ln>
              <a:noFill/>
            </a:ln>
            <a:solidFill>
              <a:schemeClr val="bg1"/>
            </a:solidFill>
            <a:effectLst/>
            <a:uLnTx/>
            <a:uFillTx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EY_DE_presentation_16x9_2019.pptx" id="{498DFC7E-2F02-4EC1-809D-1FC35964144A}" vid="{AAFA28B3-465D-43C3-8BB7-A816AFE15223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CustomMKOP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KProdID">
    <vt:lpwstr>ZMOutlook</vt:lpwstr>
  </property>
  <property fmtid="{D5CDD505-2E9C-101B-9397-08002B2CF9AE}" pid="3" name="SizeBefore">
    <vt:lpwstr>2452793</vt:lpwstr>
  </property>
  <property fmtid="{D5CDD505-2E9C-101B-9397-08002B2CF9AE}" pid="4" name="OptimizationTime">
    <vt:lpwstr>20230919_1346</vt:lpwstr>
  </property>
</Properties>
</file>

<file path=docProps/app.xml><?xml version="1.0" encoding="utf-8"?>
<Properties xmlns="http://schemas.openxmlformats.org/officeDocument/2006/extended-properties" xmlns:vt="http://schemas.openxmlformats.org/officeDocument/2006/docPropsVTypes">
  <Template>EY_DE_presentation_16x9_2019</Template>
  <TotalTime>0</TotalTime>
  <Words>124</Words>
  <Application>Microsoft Office PowerPoint</Application>
  <PresentationFormat>Custom</PresentationFormat>
  <Paragraphs>10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EYInterstate</vt:lpstr>
      <vt:lpstr>EYInterstate Light</vt:lpstr>
      <vt:lpstr>Georgia</vt:lpstr>
      <vt:lpstr>EY dark background</vt:lpstr>
      <vt:lpstr>EY light background</vt:lpstr>
      <vt:lpstr>think-cell Folie</vt:lpstr>
      <vt:lpstr>Career Ahoi @ EY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keywords/>
  <cp:lastModifiedBy/>
  <cp:revision>1</cp:revision>
  <dcterms:created xsi:type="dcterms:W3CDTF">2019-11-04T11:57:59Z</dcterms:created>
  <dcterms:modified xsi:type="dcterms:W3CDTF">2023-09-19T11:46:32Z</dcterms:modified>
  <cp:contentStatus/>
</cp:coreProperties>
</file>